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57" r:id="rId3"/>
    <p:sldId id="263" r:id="rId4"/>
    <p:sldId id="258" r:id="rId5"/>
    <p:sldId id="260" r:id="rId6"/>
    <p:sldId id="261" r:id="rId7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8000"/>
    <a:srgbClr val="23A1AA"/>
    <a:srgbClr val="D6FF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279" autoAdjust="0"/>
    <p:restoredTop sz="94660"/>
  </p:normalViewPr>
  <p:slideViewPr>
    <p:cSldViewPr snapToGrid="0">
      <p:cViewPr>
        <p:scale>
          <a:sx n="66" d="100"/>
          <a:sy n="66" d="100"/>
        </p:scale>
        <p:origin x="1986" y="10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174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81050" y="1884363"/>
            <a:ext cx="7353300" cy="1735137"/>
          </a:xfrm>
          <a:prstGeom prst="rect">
            <a:avLst/>
          </a:prstGeom>
        </p:spPr>
        <p:txBody>
          <a:bodyPr anchor="b"/>
          <a:lstStyle>
            <a:lvl1pPr algn="l">
              <a:defRPr sz="6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503855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236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931509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07566" flipV="1">
            <a:off x="-4546441" y="-106692"/>
            <a:ext cx="12966794" cy="12966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32979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30"/>
          <a:stretch/>
        </p:blipFill>
        <p:spPr>
          <a:xfrm>
            <a:off x="8810624" y="0"/>
            <a:ext cx="338137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67593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5751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689125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023313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71410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5456518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25CCA5EB-95F6-4420-8CEE-EFAC5FE63E7C}" type="datetimeFigureOut">
              <a:rPr lang="fr-FR" smtClean="0"/>
              <a:t>27/01/2025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163C9977-8180-41E3-905D-1301F5286C52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901544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42553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jpeg"/><Relationship Id="rId7" Type="http://schemas.openxmlformats.org/officeDocument/2006/relationships/image" Target="../media/image16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9.sv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jpeg"/><Relationship Id="rId3" Type="http://schemas.microsoft.com/office/2007/relationships/hdphoto" Target="../media/hdphoto1.wdp"/><Relationship Id="rId7" Type="http://schemas.openxmlformats.org/officeDocument/2006/relationships/image" Target="../media/image23.jpe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image" Target="../media/image27.png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90" Type="http://schemas.openxmlformats.org/officeDocument/2006/relationships/image" Target="../media/image28.png"/><Relationship Id="rId95" Type="http://schemas.openxmlformats.org/officeDocument/2006/relationships/image" Target="../media/image33.jpeg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image" Target="../media/image26.jpeg"/><Relationship Id="rId91" Type="http://schemas.openxmlformats.org/officeDocument/2006/relationships/image" Target="../media/image29.png"/><Relationship Id="rId96" Type="http://schemas.openxmlformats.org/officeDocument/2006/relationships/image" Target="../media/image34.jp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slideLayout" Target="../slideLayouts/slideLayout6.xml"/><Relationship Id="rId94" Type="http://schemas.openxmlformats.org/officeDocument/2006/relationships/image" Target="../media/image32.jp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image" Target="../media/image35.png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image" Target="../media/image30.jpg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image" Target="../media/image25.jpeg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image" Target="../media/image31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/>
        </p:nvGrpSpPr>
        <p:grpSpPr>
          <a:xfrm>
            <a:off x="0" y="5172023"/>
            <a:ext cx="5861209" cy="1685977"/>
            <a:chOff x="0" y="4956533"/>
            <a:chExt cx="6610350" cy="1901468"/>
          </a:xfrm>
        </p:grpSpPr>
        <p:sp>
          <p:nvSpPr>
            <p:cNvPr id="5" name="Rectangle 4"/>
            <p:cNvSpPr/>
            <p:nvPr/>
          </p:nvSpPr>
          <p:spPr>
            <a:xfrm>
              <a:off x="0" y="4956533"/>
              <a:ext cx="5611426" cy="19014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6" name="Rounded Rectangle 5"/>
            <p:cNvSpPr/>
            <p:nvPr/>
          </p:nvSpPr>
          <p:spPr>
            <a:xfrm>
              <a:off x="3028950" y="4956533"/>
              <a:ext cx="3581400" cy="19014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9" name="Rectangle 8"/>
            <p:cNvSpPr/>
            <p:nvPr/>
          </p:nvSpPr>
          <p:spPr>
            <a:xfrm>
              <a:off x="0" y="5857874"/>
              <a:ext cx="6610350" cy="1000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47486" y="1755549"/>
            <a:ext cx="8686800" cy="2192337"/>
          </a:xfrm>
        </p:spPr>
        <p:txBody>
          <a:bodyPr>
            <a:noAutofit/>
          </a:bodyPr>
          <a:lstStyle/>
          <a:p>
            <a:r>
              <a:rPr lang="fr-FR" sz="4800" dirty="0"/>
              <a:t>Collaboration scientifique – </a:t>
            </a:r>
            <a:r>
              <a:rPr lang="fr-FR" sz="4800" dirty="0" err="1"/>
              <a:t>Pyro</a:t>
            </a:r>
            <a:r>
              <a:rPr lang="fr-FR" sz="4800" dirty="0"/>
              <a:t>-gazéification des matières résiduelles</a:t>
            </a:r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181E5CA0-0A53-3A8B-B2F6-00E5ABE365C9}"/>
              </a:ext>
            </a:extLst>
          </p:cNvPr>
          <p:cNvSpPr txBox="1"/>
          <p:nvPr/>
        </p:nvSpPr>
        <p:spPr>
          <a:xfrm>
            <a:off x="5861209" y="4956532"/>
            <a:ext cx="613736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cours de mobilité scientifique : </a:t>
            </a:r>
          </a:p>
          <a:p>
            <a:pPr algn="r"/>
            <a:r>
              <a:rPr lang="fr-FR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roche et mécanisme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9E4809B3-B669-0D82-A304-0FE367A5BDC8}"/>
              </a:ext>
            </a:extLst>
          </p:cNvPr>
          <p:cNvSpPr txBox="1"/>
          <p:nvPr/>
        </p:nvSpPr>
        <p:spPr>
          <a:xfrm>
            <a:off x="6860133" y="6008215"/>
            <a:ext cx="513844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Dr Mamy </a:t>
            </a:r>
            <a:r>
              <a:rPr lang="fr-FR" sz="1400" b="1" dirty="0" err="1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Harimisa</a:t>
            </a:r>
            <a:r>
              <a:rPr lang="fr-FR" sz="14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 RADANIELINA</a:t>
            </a:r>
            <a:r>
              <a:rPr lang="fr-FR" sz="1400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, Maître de Conférences CNU 62 Laboratoire PIMENT, Université de la Réunion</a:t>
            </a:r>
          </a:p>
        </p:txBody>
      </p:sp>
      <p:grpSp>
        <p:nvGrpSpPr>
          <p:cNvPr id="11" name="Group 10"/>
          <p:cNvGrpSpPr/>
          <p:nvPr/>
        </p:nvGrpSpPr>
        <p:grpSpPr>
          <a:xfrm>
            <a:off x="704850" y="5521023"/>
            <a:ext cx="4254442" cy="1027954"/>
            <a:chOff x="704850" y="5387673"/>
            <a:chExt cx="4254442" cy="1027954"/>
          </a:xfrm>
        </p:grpSpPr>
        <p:pic>
          <p:nvPicPr>
            <p:cNvPr id="7" name="Image 7">
              <a:extLst>
                <a:ext uri="{FF2B5EF4-FFF2-40B4-BE49-F238E27FC236}">
                  <a16:creationId xmlns:a16="http://schemas.microsoft.com/office/drawing/2014/main" id="{F0D92D51-0A41-7FEC-BBEE-6E7496601C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704850" y="5444534"/>
              <a:ext cx="3356862" cy="971093"/>
            </a:xfrm>
            <a:prstGeom prst="rect">
              <a:avLst/>
            </a:prstGeom>
          </p:spPr>
        </p:pic>
        <p:pic>
          <p:nvPicPr>
            <p:cNvPr id="8" name="Image 8">
              <a:extLst>
                <a:ext uri="{FF2B5EF4-FFF2-40B4-BE49-F238E27FC236}">
                  <a16:creationId xmlns:a16="http://schemas.microsoft.com/office/drawing/2014/main" id="{C7CB9738-E472-9337-670B-EEDF37BF9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6499" y="5387673"/>
              <a:ext cx="962793" cy="97109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113527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1746" cy="6858000"/>
          </a:xfrm>
          <a:prstGeom prst="rect">
            <a:avLst/>
          </a:prstGeom>
        </p:spPr>
      </p:pic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2188030" y="365125"/>
            <a:ext cx="3454168" cy="600075"/>
          </a:xfrm>
        </p:spPr>
        <p:txBody>
          <a:bodyPr>
            <a:noAutofit/>
          </a:bodyPr>
          <a:lstStyle/>
          <a:p>
            <a:r>
              <a:rPr lang="fr-FR" sz="32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il </a:t>
            </a:r>
            <a:r>
              <a:rPr lang="fr-FR" sz="3200" b="1" dirty="0" smtClean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herche</a:t>
            </a:r>
            <a:endParaRPr lang="fr-FR" sz="3200" b="1" dirty="0">
              <a:solidFill>
                <a:srgbClr val="008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Image 5">
            <a:extLst>
              <a:ext uri="{FF2B5EF4-FFF2-40B4-BE49-F238E27FC236}">
                <a16:creationId xmlns:a16="http://schemas.microsoft.com/office/drawing/2014/main" id="{BA248088-CF46-9452-08CF-A0F09118271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6841" y="665162"/>
            <a:ext cx="629007" cy="634429"/>
          </a:xfrm>
          <a:prstGeom prst="rect">
            <a:avLst/>
          </a:prstGeom>
        </p:spPr>
      </p:pic>
      <p:sp>
        <p:nvSpPr>
          <p:cNvPr id="57" name="Rectangle : coins arrondis 6">
            <a:extLst>
              <a:ext uri="{FF2B5EF4-FFF2-40B4-BE49-F238E27FC236}">
                <a16:creationId xmlns:a16="http://schemas.microsoft.com/office/drawing/2014/main" id="{2D538944-CC09-70BB-4FFC-36A4052098DF}"/>
              </a:ext>
            </a:extLst>
          </p:cNvPr>
          <p:cNvSpPr/>
          <p:nvPr/>
        </p:nvSpPr>
        <p:spPr>
          <a:xfrm>
            <a:off x="7907486" y="1675394"/>
            <a:ext cx="1267717" cy="583911"/>
          </a:xfrm>
          <a:prstGeom prst="roundRect">
            <a:avLst/>
          </a:prstGeom>
          <a:solidFill>
            <a:srgbClr val="008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100" dirty="0"/>
              <a:t>ENERGIES DURABLES</a:t>
            </a:r>
          </a:p>
        </p:txBody>
      </p:sp>
      <p:cxnSp>
        <p:nvCxnSpPr>
          <p:cNvPr id="58" name="Connecteur : en arc 21">
            <a:extLst>
              <a:ext uri="{FF2B5EF4-FFF2-40B4-BE49-F238E27FC236}">
                <a16:creationId xmlns:a16="http://schemas.microsoft.com/office/drawing/2014/main" id="{7C43515E-4CD8-0AEC-CB16-D43BC6EC7BBA}"/>
              </a:ext>
            </a:extLst>
          </p:cNvPr>
          <p:cNvCxnSpPr>
            <a:cxnSpLocks/>
            <a:stCxn id="57" idx="2"/>
            <a:endCxn id="81" idx="0"/>
          </p:cNvCxnSpPr>
          <p:nvPr/>
        </p:nvCxnSpPr>
        <p:spPr>
          <a:xfrm rot="16200000" flipH="1">
            <a:off x="8394432" y="2406218"/>
            <a:ext cx="340039" cy="46213"/>
          </a:xfrm>
          <a:prstGeom prst="curvedConnector3">
            <a:avLst>
              <a:gd name="adj1" fmla="val 50000"/>
            </a:avLst>
          </a:prstGeom>
          <a:ln w="19050">
            <a:solidFill>
              <a:srgbClr val="374F56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ctangle : coins arrondis 9">
            <a:extLst>
              <a:ext uri="{FF2B5EF4-FFF2-40B4-BE49-F238E27FC236}">
                <a16:creationId xmlns:a16="http://schemas.microsoft.com/office/drawing/2014/main" id="{641BD2AC-BF18-17E0-C659-CC078E20020B}"/>
              </a:ext>
            </a:extLst>
          </p:cNvPr>
          <p:cNvSpPr/>
          <p:nvPr/>
        </p:nvSpPr>
        <p:spPr>
          <a:xfrm>
            <a:off x="9753569" y="1693163"/>
            <a:ext cx="1267717" cy="583911"/>
          </a:xfrm>
          <a:prstGeom prst="roundRect">
            <a:avLst/>
          </a:prstGeom>
          <a:solidFill>
            <a:srgbClr val="D6F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tx1"/>
                </a:solidFill>
              </a:rPr>
              <a:t>EFFICACITE DES ESPACES BATIS ET ENVIRONNEMENT</a:t>
            </a:r>
          </a:p>
        </p:txBody>
      </p:sp>
      <p:sp>
        <p:nvSpPr>
          <p:cNvPr id="60" name="Rectangle : coins arrondis 10">
            <a:extLst>
              <a:ext uri="{FF2B5EF4-FFF2-40B4-BE49-F238E27FC236}">
                <a16:creationId xmlns:a16="http://schemas.microsoft.com/office/drawing/2014/main" id="{BB30E3E4-A305-7AAD-FEB3-B15C5E7D2D90}"/>
              </a:ext>
            </a:extLst>
          </p:cNvPr>
          <p:cNvSpPr/>
          <p:nvPr/>
        </p:nvSpPr>
        <p:spPr>
          <a:xfrm>
            <a:off x="5973380" y="1693419"/>
            <a:ext cx="1267717" cy="583911"/>
          </a:xfrm>
          <a:prstGeom prst="roundRect">
            <a:avLst/>
          </a:prstGeom>
          <a:solidFill>
            <a:srgbClr val="D6FF7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050" dirty="0">
                <a:solidFill>
                  <a:schemeClr val="tx1"/>
                </a:solidFill>
              </a:rPr>
              <a:t>MATHEMATIQUES &amp; APPLICATIONS</a:t>
            </a:r>
          </a:p>
        </p:txBody>
      </p:sp>
      <p:cxnSp>
        <p:nvCxnSpPr>
          <p:cNvPr id="61" name="Connecteur : en arc 74">
            <a:extLst>
              <a:ext uri="{FF2B5EF4-FFF2-40B4-BE49-F238E27FC236}">
                <a16:creationId xmlns:a16="http://schemas.microsoft.com/office/drawing/2014/main" id="{C9C69FBA-0F08-222D-8A9D-480EA82E5D48}"/>
              </a:ext>
            </a:extLst>
          </p:cNvPr>
          <p:cNvCxnSpPr>
            <a:cxnSpLocks/>
            <a:stCxn id="56" idx="2"/>
            <a:endCxn id="59" idx="0"/>
          </p:cNvCxnSpPr>
          <p:nvPr/>
        </p:nvCxnSpPr>
        <p:spPr>
          <a:xfrm rot="16200000" flipH="1">
            <a:off x="9267600" y="573335"/>
            <a:ext cx="393572" cy="1846083"/>
          </a:xfrm>
          <a:prstGeom prst="curved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Connecteur : en arc 75">
            <a:extLst>
              <a:ext uri="{FF2B5EF4-FFF2-40B4-BE49-F238E27FC236}">
                <a16:creationId xmlns:a16="http://schemas.microsoft.com/office/drawing/2014/main" id="{96084DBB-7AC2-925D-4FDA-B74F6248655B}"/>
              </a:ext>
            </a:extLst>
          </p:cNvPr>
          <p:cNvCxnSpPr>
            <a:cxnSpLocks/>
            <a:stCxn id="56" idx="2"/>
            <a:endCxn id="60" idx="0"/>
          </p:cNvCxnSpPr>
          <p:nvPr/>
        </p:nvCxnSpPr>
        <p:spPr>
          <a:xfrm rot="5400000">
            <a:off x="7377378" y="529453"/>
            <a:ext cx="393828" cy="1934106"/>
          </a:xfrm>
          <a:prstGeom prst="curvedConnector3">
            <a:avLst>
              <a:gd name="adj1" fmla="val 50000"/>
            </a:avLst>
          </a:prstGeom>
          <a:ln>
            <a:solidFill>
              <a:schemeClr val="bg2">
                <a:lumMod val="50000"/>
              </a:schemeClr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Connecteur : en arc 76">
            <a:extLst>
              <a:ext uri="{FF2B5EF4-FFF2-40B4-BE49-F238E27FC236}">
                <a16:creationId xmlns:a16="http://schemas.microsoft.com/office/drawing/2014/main" id="{6FC46E1A-1DD5-1B3F-3C2D-0DE3B5FB6DE8}"/>
              </a:ext>
            </a:extLst>
          </p:cNvPr>
          <p:cNvCxnSpPr>
            <a:cxnSpLocks/>
            <a:stCxn id="56" idx="2"/>
            <a:endCxn id="57" idx="0"/>
          </p:cNvCxnSpPr>
          <p:nvPr/>
        </p:nvCxnSpPr>
        <p:spPr>
          <a:xfrm rot="5400000">
            <a:off x="8353443" y="1487492"/>
            <a:ext cx="375803" cy="11306"/>
          </a:xfrm>
          <a:prstGeom prst="curvedConnector3">
            <a:avLst>
              <a:gd name="adj1" fmla="val 50000"/>
            </a:avLst>
          </a:prstGeom>
          <a:ln w="19050">
            <a:solidFill>
              <a:srgbClr val="374F56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Connecteur : en arc 29">
            <a:extLst>
              <a:ext uri="{FF2B5EF4-FFF2-40B4-BE49-F238E27FC236}">
                <a16:creationId xmlns:a16="http://schemas.microsoft.com/office/drawing/2014/main" id="{B11FB4EB-505B-6610-F457-90FEBB95FF1D}"/>
              </a:ext>
            </a:extLst>
          </p:cNvPr>
          <p:cNvCxnSpPr>
            <a:cxnSpLocks/>
            <a:stCxn id="83" idx="0"/>
            <a:endCxn id="80" idx="3"/>
          </p:cNvCxnSpPr>
          <p:nvPr/>
        </p:nvCxnSpPr>
        <p:spPr>
          <a:xfrm rot="16200000" flipV="1">
            <a:off x="7731037" y="4446344"/>
            <a:ext cx="1584542" cy="451331"/>
          </a:xfrm>
          <a:prstGeom prst="curvedConnector2">
            <a:avLst/>
          </a:prstGeom>
          <a:ln>
            <a:solidFill>
              <a:srgbClr val="374F56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Connecteur : en arc 29">
            <a:extLst>
              <a:ext uri="{FF2B5EF4-FFF2-40B4-BE49-F238E27FC236}">
                <a16:creationId xmlns:a16="http://schemas.microsoft.com/office/drawing/2014/main" id="{F818AD39-A9CA-C9E8-286B-5C765B22C7E0}"/>
              </a:ext>
            </a:extLst>
          </p:cNvPr>
          <p:cNvCxnSpPr>
            <a:cxnSpLocks/>
            <a:stCxn id="80" idx="3"/>
            <a:endCxn id="85" idx="1"/>
          </p:cNvCxnSpPr>
          <p:nvPr/>
        </p:nvCxnSpPr>
        <p:spPr>
          <a:xfrm>
            <a:off x="8297643" y="3879739"/>
            <a:ext cx="902663" cy="846151"/>
          </a:xfrm>
          <a:prstGeom prst="curvedConnector3">
            <a:avLst>
              <a:gd name="adj1" fmla="val 50000"/>
            </a:avLst>
          </a:prstGeom>
          <a:ln>
            <a:solidFill>
              <a:srgbClr val="374F56"/>
            </a:solidFill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6" name="Image 41">
            <a:extLst>
              <a:ext uri="{FF2B5EF4-FFF2-40B4-BE49-F238E27FC236}">
                <a16:creationId xmlns:a16="http://schemas.microsoft.com/office/drawing/2014/main" id="{95A14D1D-E65D-409A-0C6E-6BD4AB8B3D35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725213" y="1551884"/>
            <a:ext cx="2589234" cy="749029"/>
          </a:xfrm>
          <a:prstGeom prst="rect">
            <a:avLst/>
          </a:prstGeom>
        </p:spPr>
      </p:pic>
      <p:sp>
        <p:nvSpPr>
          <p:cNvPr id="67" name="ZoneTexte 54">
            <a:extLst>
              <a:ext uri="{FF2B5EF4-FFF2-40B4-BE49-F238E27FC236}">
                <a16:creationId xmlns:a16="http://schemas.microsoft.com/office/drawing/2014/main" id="{37AB9676-16B8-80A3-13AC-95037BE751C3}"/>
              </a:ext>
            </a:extLst>
          </p:cNvPr>
          <p:cNvSpPr txBox="1"/>
          <p:nvPr/>
        </p:nvSpPr>
        <p:spPr>
          <a:xfrm>
            <a:off x="2321580" y="2365453"/>
            <a:ext cx="3320618" cy="762655"/>
          </a:xfrm>
          <a:prstGeom prst="roundRect">
            <a:avLst>
              <a:gd name="adj" fmla="val 13535"/>
            </a:avLst>
          </a:prstGeom>
          <a:solidFill>
            <a:srgbClr val="23A1AA"/>
          </a:solidFill>
          <a:ln>
            <a:noFill/>
          </a:ln>
        </p:spPr>
        <p:txBody>
          <a:bodyPr wrap="square" anchor="ctr">
            <a:spAutoFit/>
          </a:bodyPr>
          <a:lstStyle/>
          <a:p>
            <a:pPr algn="ctr"/>
            <a:r>
              <a:rPr lang="fr-FR" sz="1400" dirty="0">
                <a:solidFill>
                  <a:schemeClr val="bg1"/>
                </a:solidFill>
                <a:latin typeface="Arial Rounded MT Bold" panose="020F0704030504030204" pitchFamily="34" charset="77"/>
                <a:cs typeface="Times New Roman" panose="02020603050405020304" pitchFamily="18" charset="0"/>
              </a:rPr>
              <a:t>Dr Mamy </a:t>
            </a:r>
            <a:r>
              <a:rPr lang="fr-FR" sz="1400" dirty="0" err="1">
                <a:solidFill>
                  <a:schemeClr val="bg1"/>
                </a:solidFill>
                <a:latin typeface="Arial Rounded MT Bold" panose="020F0704030504030204" pitchFamily="34" charset="77"/>
                <a:cs typeface="Times New Roman" panose="02020603050405020304" pitchFamily="18" charset="0"/>
              </a:rPr>
              <a:t>Harimisa</a:t>
            </a:r>
            <a:r>
              <a:rPr lang="fr-FR" sz="1400" dirty="0">
                <a:solidFill>
                  <a:schemeClr val="bg1"/>
                </a:solidFill>
                <a:latin typeface="Arial Rounded MT Bold" panose="020F0704030504030204" pitchFamily="34" charset="77"/>
                <a:cs typeface="Times New Roman" panose="02020603050405020304" pitchFamily="18" charset="0"/>
              </a:rPr>
              <a:t> RADANIELINA</a:t>
            </a:r>
          </a:p>
          <a:p>
            <a:pPr algn="ctr"/>
            <a:r>
              <a:rPr lang="fr-FR" sz="1400" dirty="0">
                <a:solidFill>
                  <a:schemeClr val="bg1"/>
                </a:solidFill>
                <a:cs typeface="Times New Roman" panose="02020603050405020304" pitchFamily="18" charset="0"/>
              </a:rPr>
              <a:t>Maître de Conférences CNU 62</a:t>
            </a:r>
          </a:p>
          <a:p>
            <a:pPr algn="ctr"/>
            <a:r>
              <a:rPr lang="fr-FR" sz="1200" dirty="0">
                <a:solidFill>
                  <a:schemeClr val="bg1"/>
                </a:solidFill>
                <a:latin typeface="+mj-lt"/>
                <a:cs typeface="Times New Roman" panose="02020603050405020304" pitchFamily="18" charset="0"/>
              </a:rPr>
              <a:t>Energétique et Génie des procédés</a:t>
            </a:r>
            <a:endParaRPr lang="fr-FR" sz="12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68" name="Image 4">
            <a:extLst>
              <a:ext uri="{FF2B5EF4-FFF2-40B4-BE49-F238E27FC236}">
                <a16:creationId xmlns:a16="http://schemas.microsoft.com/office/drawing/2014/main" id="{819E5F53-7FCB-4DF8-9F3A-B7749C5E86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69867" y="1684881"/>
            <a:ext cx="1111329" cy="148177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69" name="Groupe 8">
            <a:extLst>
              <a:ext uri="{FF2B5EF4-FFF2-40B4-BE49-F238E27FC236}">
                <a16:creationId xmlns:a16="http://schemas.microsoft.com/office/drawing/2014/main" id="{64C94C92-5E69-CA53-74AC-F8B2DE9BD35E}"/>
              </a:ext>
            </a:extLst>
          </p:cNvPr>
          <p:cNvGrpSpPr/>
          <p:nvPr/>
        </p:nvGrpSpPr>
        <p:grpSpPr>
          <a:xfrm>
            <a:off x="6768987" y="2599344"/>
            <a:ext cx="3637141" cy="3610318"/>
            <a:chOff x="1026900" y="2434231"/>
            <a:chExt cx="4085645" cy="4055515"/>
          </a:xfrm>
        </p:grpSpPr>
        <p:grpSp>
          <p:nvGrpSpPr>
            <p:cNvPr id="70" name="Groupe 15">
              <a:extLst>
                <a:ext uri="{FF2B5EF4-FFF2-40B4-BE49-F238E27FC236}">
                  <a16:creationId xmlns:a16="http://schemas.microsoft.com/office/drawing/2014/main" id="{B4275EBB-B6BA-13F8-FAF8-F83398E38BE1}"/>
                </a:ext>
              </a:extLst>
            </p:cNvPr>
            <p:cNvGrpSpPr/>
            <p:nvPr/>
          </p:nvGrpSpPr>
          <p:grpSpPr>
            <a:xfrm>
              <a:off x="1026900" y="2434231"/>
              <a:ext cx="4085645" cy="4055515"/>
              <a:chOff x="873051" y="2217954"/>
              <a:chExt cx="4085645" cy="4055515"/>
            </a:xfrm>
          </p:grpSpPr>
          <p:grpSp>
            <p:nvGrpSpPr>
              <p:cNvPr id="79" name="Groupe 24">
                <a:extLst>
                  <a:ext uri="{FF2B5EF4-FFF2-40B4-BE49-F238E27FC236}">
                    <a16:creationId xmlns:a16="http://schemas.microsoft.com/office/drawing/2014/main" id="{9F6030EA-405B-DACB-63E4-FC797BBCFD69}"/>
                  </a:ext>
                </a:extLst>
              </p:cNvPr>
              <p:cNvGrpSpPr/>
              <p:nvPr/>
            </p:nvGrpSpPr>
            <p:grpSpPr>
              <a:xfrm>
                <a:off x="873051" y="2217954"/>
                <a:ext cx="4085645" cy="4055515"/>
                <a:chOff x="1662947" y="2405916"/>
                <a:chExt cx="4085645" cy="4055515"/>
              </a:xfrm>
            </p:grpSpPr>
            <p:sp>
              <p:nvSpPr>
                <p:cNvPr id="81" name="Ellipse 26">
                  <a:extLst>
                    <a:ext uri="{FF2B5EF4-FFF2-40B4-BE49-F238E27FC236}">
                      <a16:creationId xmlns:a16="http://schemas.microsoft.com/office/drawing/2014/main" id="{64983427-E3B2-0B6E-6F86-F0E2EC985210}"/>
                    </a:ext>
                  </a:extLst>
                </p:cNvPr>
                <p:cNvSpPr/>
                <p:nvPr/>
              </p:nvSpPr>
              <p:spPr>
                <a:xfrm>
                  <a:off x="1662947" y="2405916"/>
                  <a:ext cx="4085645" cy="4055515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rgbClr val="23A1AA"/>
                  </a:solidFill>
                  <a:prstDash val="dash"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sz="1400"/>
                </a:p>
              </p:txBody>
            </p:sp>
            <p:sp>
              <p:nvSpPr>
                <p:cNvPr id="82" name="Rectangle : coins arrondis 27">
                  <a:extLst>
                    <a:ext uri="{FF2B5EF4-FFF2-40B4-BE49-F238E27FC236}">
                      <a16:creationId xmlns:a16="http://schemas.microsoft.com/office/drawing/2014/main" id="{9C96B1F2-74A2-0B76-2A9D-9D213B92DEDA}"/>
                    </a:ext>
                  </a:extLst>
                </p:cNvPr>
                <p:cNvSpPr/>
                <p:nvPr/>
              </p:nvSpPr>
              <p:spPr>
                <a:xfrm>
                  <a:off x="3229747" y="2819709"/>
                  <a:ext cx="1080108" cy="360218"/>
                </a:xfrm>
                <a:prstGeom prst="roundRect">
                  <a:avLst/>
                </a:prstGeom>
                <a:solidFill>
                  <a:srgbClr val="008000"/>
                </a:solidFill>
                <a:ln>
                  <a:solidFill>
                    <a:srgbClr val="23A1A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fr-FR" sz="1100" dirty="0"/>
                    <a:t>DECHETS</a:t>
                  </a:r>
                </a:p>
              </p:txBody>
            </p:sp>
            <p:sp>
              <p:nvSpPr>
                <p:cNvPr id="83" name="Rectangle : coins arrondis 28">
                  <a:extLst>
                    <a:ext uri="{FF2B5EF4-FFF2-40B4-BE49-F238E27FC236}">
                      <a16:creationId xmlns:a16="http://schemas.microsoft.com/office/drawing/2014/main" id="{2B00CA63-C088-0965-585F-C1C6A1E4AE8D}"/>
                    </a:ext>
                  </a:extLst>
                </p:cNvPr>
                <p:cNvSpPr/>
                <p:nvPr/>
              </p:nvSpPr>
              <p:spPr>
                <a:xfrm>
                  <a:off x="3076600" y="5624135"/>
                  <a:ext cx="1620981" cy="464075"/>
                </a:xfrm>
                <a:prstGeom prst="roundRect">
                  <a:avLst/>
                </a:prstGeom>
                <a:solidFill>
                  <a:srgbClr val="008000"/>
                </a:solidFill>
                <a:ln>
                  <a:solidFill>
                    <a:srgbClr val="23A1A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fr-FR" sz="1100" dirty="0"/>
                    <a:t>TRANSITION ECOLOGIQUE</a:t>
                  </a:r>
                </a:p>
              </p:txBody>
            </p:sp>
            <p:sp>
              <p:nvSpPr>
                <p:cNvPr id="84" name="Rectangle : coins arrondis 29">
                  <a:extLst>
                    <a:ext uri="{FF2B5EF4-FFF2-40B4-BE49-F238E27FC236}">
                      <a16:creationId xmlns:a16="http://schemas.microsoft.com/office/drawing/2014/main" id="{FA9EEBAA-B4DB-D8A1-9831-97AE221CD171}"/>
                    </a:ext>
                  </a:extLst>
                </p:cNvPr>
                <p:cNvSpPr/>
                <p:nvPr/>
              </p:nvSpPr>
              <p:spPr>
                <a:xfrm>
                  <a:off x="1970251" y="4969985"/>
                  <a:ext cx="1282659" cy="464075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23A1A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fr-FR" sz="1050" dirty="0">
                      <a:solidFill>
                        <a:srgbClr val="008000"/>
                      </a:solidFill>
                    </a:rPr>
                    <a:t>Expérimentation</a:t>
                  </a:r>
                </a:p>
              </p:txBody>
            </p:sp>
            <p:sp>
              <p:nvSpPr>
                <p:cNvPr id="85" name="Rectangle : coins arrondis 30">
                  <a:extLst>
                    <a:ext uri="{FF2B5EF4-FFF2-40B4-BE49-F238E27FC236}">
                      <a16:creationId xmlns:a16="http://schemas.microsoft.com/office/drawing/2014/main" id="{A0B1971E-03D5-8C10-049F-907CE28B64FB}"/>
                    </a:ext>
                  </a:extLst>
                </p:cNvPr>
                <p:cNvSpPr/>
                <p:nvPr/>
              </p:nvSpPr>
              <p:spPr>
                <a:xfrm>
                  <a:off x="4394078" y="4614582"/>
                  <a:ext cx="1166562" cy="360218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23A1A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fr-FR" sz="1050" dirty="0">
                      <a:solidFill>
                        <a:srgbClr val="008000"/>
                      </a:solidFill>
                    </a:rPr>
                    <a:t>Prospective</a:t>
                  </a:r>
                </a:p>
              </p:txBody>
            </p:sp>
            <p:sp>
              <p:nvSpPr>
                <p:cNvPr id="86" name="Rectangle : coins arrondis 31">
                  <a:extLst>
                    <a:ext uri="{FF2B5EF4-FFF2-40B4-BE49-F238E27FC236}">
                      <a16:creationId xmlns:a16="http://schemas.microsoft.com/office/drawing/2014/main" id="{D31E8B62-A5FE-5030-6D65-8187ED59EBD1}"/>
                    </a:ext>
                  </a:extLst>
                </p:cNvPr>
                <p:cNvSpPr/>
                <p:nvPr/>
              </p:nvSpPr>
              <p:spPr>
                <a:xfrm>
                  <a:off x="4357830" y="3658450"/>
                  <a:ext cx="1239058" cy="411697"/>
                </a:xfrm>
                <a:prstGeom prst="roundRect">
                  <a:avLst/>
                </a:prstGeom>
                <a:solidFill>
                  <a:schemeClr val="bg1"/>
                </a:solidFill>
                <a:ln>
                  <a:solidFill>
                    <a:srgbClr val="23A1AA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algn="ctr"/>
                  <a:r>
                    <a:rPr lang="fr-FR" sz="1050" dirty="0">
                      <a:solidFill>
                        <a:srgbClr val="008000"/>
                      </a:solidFill>
                    </a:rPr>
                    <a:t>Métabolisme territorial</a:t>
                  </a:r>
                </a:p>
              </p:txBody>
            </p:sp>
          </p:grpSp>
          <p:sp>
            <p:nvSpPr>
              <p:cNvPr id="80" name="Rectangle : coins arrondis 25">
                <a:extLst>
                  <a:ext uri="{FF2B5EF4-FFF2-40B4-BE49-F238E27FC236}">
                    <a16:creationId xmlns:a16="http://schemas.microsoft.com/office/drawing/2014/main" id="{DC12666E-7EB9-76C8-67B5-6AD7E0F9AB33}"/>
                  </a:ext>
                </a:extLst>
              </p:cNvPr>
              <p:cNvSpPr/>
              <p:nvPr/>
            </p:nvSpPr>
            <p:spPr>
              <a:xfrm>
                <a:off x="1156992" y="3379468"/>
                <a:ext cx="1433217" cy="553538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rgbClr val="23A1AA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fr-FR" sz="1050" dirty="0">
                    <a:solidFill>
                      <a:srgbClr val="008000"/>
                    </a:solidFill>
                  </a:rPr>
                  <a:t>Systèmes de thermo-conversion</a:t>
                </a:r>
              </a:p>
            </p:txBody>
          </p:sp>
        </p:grpSp>
        <p:cxnSp>
          <p:nvCxnSpPr>
            <p:cNvPr id="71" name="Connecteur : en arc 24">
              <a:extLst>
                <a:ext uri="{FF2B5EF4-FFF2-40B4-BE49-F238E27FC236}">
                  <a16:creationId xmlns:a16="http://schemas.microsoft.com/office/drawing/2014/main" id="{DA218B98-67AF-F6E1-5BF3-9FA3EED12C8A}"/>
                </a:ext>
              </a:extLst>
            </p:cNvPr>
            <p:cNvCxnSpPr>
              <a:cxnSpLocks/>
              <a:stCxn id="82" idx="2"/>
              <a:endCxn id="86" idx="1"/>
            </p:cNvCxnSpPr>
            <p:nvPr/>
          </p:nvCxnSpPr>
          <p:spPr>
            <a:xfrm rot="16200000" flipH="1">
              <a:off x="3085582" y="3256413"/>
              <a:ext cx="684372" cy="588029"/>
            </a:xfrm>
            <a:prstGeom prst="curvedConnector2">
              <a:avLst/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necteur : en arc 25">
              <a:extLst>
                <a:ext uri="{FF2B5EF4-FFF2-40B4-BE49-F238E27FC236}">
                  <a16:creationId xmlns:a16="http://schemas.microsoft.com/office/drawing/2014/main" id="{E26FF6DA-811A-03D3-2A28-3A2391679BD9}"/>
                </a:ext>
              </a:extLst>
            </p:cNvPr>
            <p:cNvCxnSpPr>
              <a:cxnSpLocks/>
              <a:stCxn id="82" idx="2"/>
              <a:endCxn id="80" idx="3"/>
            </p:cNvCxnSpPr>
            <p:nvPr/>
          </p:nvCxnSpPr>
          <p:spPr>
            <a:xfrm rot="5400000">
              <a:off x="2606770" y="3345530"/>
              <a:ext cx="664272" cy="389696"/>
            </a:xfrm>
            <a:prstGeom prst="curvedConnector2">
              <a:avLst/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necteur : en arc 26">
              <a:extLst>
                <a:ext uri="{FF2B5EF4-FFF2-40B4-BE49-F238E27FC236}">
                  <a16:creationId xmlns:a16="http://schemas.microsoft.com/office/drawing/2014/main" id="{1956B9F9-0138-73ED-CFE5-5FAE0B2A36CC}"/>
                </a:ext>
              </a:extLst>
            </p:cNvPr>
            <p:cNvCxnSpPr>
              <a:cxnSpLocks/>
              <a:stCxn id="86" idx="1"/>
              <a:endCxn id="85" idx="1"/>
            </p:cNvCxnSpPr>
            <p:nvPr/>
          </p:nvCxnSpPr>
          <p:spPr>
            <a:xfrm rot="10800000" flipH="1" flipV="1">
              <a:off x="3721783" y="3892614"/>
              <a:ext cx="36248" cy="930392"/>
            </a:xfrm>
            <a:prstGeom prst="curvedConnector3">
              <a:avLst>
                <a:gd name="adj1" fmla="val -630655"/>
              </a:avLst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necteur : en arc 27">
              <a:extLst>
                <a:ext uri="{FF2B5EF4-FFF2-40B4-BE49-F238E27FC236}">
                  <a16:creationId xmlns:a16="http://schemas.microsoft.com/office/drawing/2014/main" id="{2B012B4C-ED58-A0A2-3CCE-9B3EE99C6DD0}"/>
                </a:ext>
              </a:extLst>
            </p:cNvPr>
            <p:cNvCxnSpPr>
              <a:cxnSpLocks/>
              <a:stCxn id="80" idx="2"/>
              <a:endCxn id="77" idx="0"/>
            </p:cNvCxnSpPr>
            <p:nvPr/>
          </p:nvCxnSpPr>
          <p:spPr>
            <a:xfrm rot="5400000">
              <a:off x="1849666" y="4243669"/>
              <a:ext cx="272171" cy="83398"/>
            </a:xfrm>
            <a:prstGeom prst="curvedConnector3">
              <a:avLst>
                <a:gd name="adj1" fmla="val 50000"/>
              </a:avLst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necteur : en arc 28">
              <a:extLst>
                <a:ext uri="{FF2B5EF4-FFF2-40B4-BE49-F238E27FC236}">
                  <a16:creationId xmlns:a16="http://schemas.microsoft.com/office/drawing/2014/main" id="{F6456C91-73A0-A76C-ECA2-2CF5D267ABE7}"/>
                </a:ext>
              </a:extLst>
            </p:cNvPr>
            <p:cNvCxnSpPr>
              <a:cxnSpLocks/>
              <a:stCxn id="83" idx="0"/>
              <a:endCxn id="85" idx="1"/>
            </p:cNvCxnSpPr>
            <p:nvPr/>
          </p:nvCxnSpPr>
          <p:spPr>
            <a:xfrm rot="5400000" flipH="1" flipV="1">
              <a:off x="3089815" y="4984235"/>
              <a:ext cx="829444" cy="506987"/>
            </a:xfrm>
            <a:prstGeom prst="curvedConnector2">
              <a:avLst/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cteur : en arc 29">
              <a:extLst>
                <a:ext uri="{FF2B5EF4-FFF2-40B4-BE49-F238E27FC236}">
                  <a16:creationId xmlns:a16="http://schemas.microsoft.com/office/drawing/2014/main" id="{7A835B95-E525-F5F2-46F3-92E68B3B70E4}"/>
                </a:ext>
              </a:extLst>
            </p:cNvPr>
            <p:cNvCxnSpPr>
              <a:cxnSpLocks/>
              <a:stCxn id="83" idx="0"/>
              <a:endCxn id="86" idx="1"/>
            </p:cNvCxnSpPr>
            <p:nvPr/>
          </p:nvCxnSpPr>
          <p:spPr>
            <a:xfrm rot="5400000" flipH="1" flipV="1">
              <a:off x="2606495" y="4537163"/>
              <a:ext cx="1759836" cy="470739"/>
            </a:xfrm>
            <a:prstGeom prst="curvedConnector2">
              <a:avLst/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 : coins arrondis 22">
              <a:extLst>
                <a:ext uri="{FF2B5EF4-FFF2-40B4-BE49-F238E27FC236}">
                  <a16:creationId xmlns:a16="http://schemas.microsoft.com/office/drawing/2014/main" id="{2834A158-5426-5E17-F1A6-9CB173867954}"/>
                </a:ext>
              </a:extLst>
            </p:cNvPr>
            <p:cNvSpPr/>
            <p:nvPr/>
          </p:nvSpPr>
          <p:spPr>
            <a:xfrm>
              <a:off x="1346848" y="4421454"/>
              <a:ext cx="1194407" cy="385861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23A1A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fr-FR" sz="1050" dirty="0">
                  <a:solidFill>
                    <a:srgbClr val="008000"/>
                  </a:solidFill>
                </a:rPr>
                <a:t>Modélisation</a:t>
              </a:r>
            </a:p>
          </p:txBody>
        </p:sp>
        <p:cxnSp>
          <p:nvCxnSpPr>
            <p:cNvPr id="78" name="Connecteur : en arc 31">
              <a:extLst>
                <a:ext uri="{FF2B5EF4-FFF2-40B4-BE49-F238E27FC236}">
                  <a16:creationId xmlns:a16="http://schemas.microsoft.com/office/drawing/2014/main" id="{388330AD-A6F7-E167-466E-210AE01AE414}"/>
                </a:ext>
              </a:extLst>
            </p:cNvPr>
            <p:cNvCxnSpPr>
              <a:cxnSpLocks/>
              <a:stCxn id="80" idx="2"/>
              <a:endCxn id="84" idx="3"/>
            </p:cNvCxnSpPr>
            <p:nvPr/>
          </p:nvCxnSpPr>
          <p:spPr>
            <a:xfrm rot="16200000" flipH="1">
              <a:off x="1781629" y="4395103"/>
              <a:ext cx="1081055" cy="589413"/>
            </a:xfrm>
            <a:prstGeom prst="curvedConnector4">
              <a:avLst>
                <a:gd name="adj1" fmla="val 19366"/>
                <a:gd name="adj2" fmla="val 160364"/>
              </a:avLst>
            </a:prstGeom>
            <a:ln>
              <a:solidFill>
                <a:srgbClr val="23A1AA"/>
              </a:solidFill>
              <a:tailEnd type="triangle" w="lg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87" name="Connecteur : en arc 83">
            <a:extLst>
              <a:ext uri="{FF2B5EF4-FFF2-40B4-BE49-F238E27FC236}">
                <a16:creationId xmlns:a16="http://schemas.microsoft.com/office/drawing/2014/main" id="{4F4FF827-93D4-3A71-5A0D-B86CE62F771A}"/>
              </a:ext>
            </a:extLst>
          </p:cNvPr>
          <p:cNvCxnSpPr>
            <a:cxnSpLocks/>
            <a:stCxn id="77" idx="1"/>
            <a:endCxn id="60" idx="2"/>
          </p:cNvCxnSpPr>
          <p:nvPr/>
        </p:nvCxnSpPr>
        <p:spPr>
          <a:xfrm rot="10800000">
            <a:off x="6607238" y="2277331"/>
            <a:ext cx="446574" cy="2262840"/>
          </a:xfrm>
          <a:prstGeom prst="curvedConnector2">
            <a:avLst/>
          </a:prstGeom>
          <a:ln>
            <a:solidFill>
              <a:srgbClr val="23A1AA"/>
            </a:solidFill>
            <a:headEnd type="triangle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8" name="Image 159">
            <a:extLst>
              <a:ext uri="{FF2B5EF4-FFF2-40B4-BE49-F238E27FC236}">
                <a16:creationId xmlns:a16="http://schemas.microsoft.com/office/drawing/2014/main" id="{E9C1DBEF-16B7-7779-EE71-D6FC898BBED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476752" y="5464282"/>
            <a:ext cx="745381" cy="74538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9" name="Google Shape;194;p24">
            <a:extLst>
              <a:ext uri="{FF2B5EF4-FFF2-40B4-BE49-F238E27FC236}">
                <a16:creationId xmlns:a16="http://schemas.microsoft.com/office/drawing/2014/main" id="{70E2EC43-A190-D9E7-A84A-F7B354DBD4D6}"/>
              </a:ext>
            </a:extLst>
          </p:cNvPr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4948671" y="3678005"/>
            <a:ext cx="1548378" cy="2407871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5702106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600075"/>
          </a:xfrm>
        </p:spPr>
        <p:txBody>
          <a:bodyPr>
            <a:noAutofit/>
          </a:bodyPr>
          <a:lstStyle/>
          <a:p>
            <a:r>
              <a:rPr lang="fr-FR" sz="28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cours académique</a:t>
            </a:r>
          </a:p>
        </p:txBody>
      </p:sp>
      <p:grpSp>
        <p:nvGrpSpPr>
          <p:cNvPr id="37" name="Group 17">
            <a:extLst>
              <a:ext uri="{FF2B5EF4-FFF2-40B4-BE49-F238E27FC236}">
                <a16:creationId xmlns:a16="http://schemas.microsoft.com/office/drawing/2014/main" id="{3B81C20E-8EC6-1B11-8F12-AFCAD0436AB6}"/>
              </a:ext>
            </a:extLst>
          </p:cNvPr>
          <p:cNvGrpSpPr/>
          <p:nvPr/>
        </p:nvGrpSpPr>
        <p:grpSpPr>
          <a:xfrm>
            <a:off x="-25319" y="3526324"/>
            <a:ext cx="12240000" cy="423154"/>
            <a:chOff x="-643172" y="884625"/>
            <a:chExt cx="24817552" cy="885705"/>
          </a:xfrm>
          <a:solidFill>
            <a:srgbClr val="8497B0"/>
          </a:solidFill>
        </p:grpSpPr>
        <p:sp>
          <p:nvSpPr>
            <p:cNvPr id="38" name="Oval 5">
              <a:extLst>
                <a:ext uri="{FF2B5EF4-FFF2-40B4-BE49-F238E27FC236}">
                  <a16:creationId xmlns:a16="http://schemas.microsoft.com/office/drawing/2014/main" id="{36992029-6844-4984-1086-0BDB0E059F35}"/>
                </a:ext>
              </a:extLst>
            </p:cNvPr>
            <p:cNvSpPr/>
            <p:nvPr/>
          </p:nvSpPr>
          <p:spPr>
            <a:xfrm>
              <a:off x="6197018" y="906234"/>
              <a:ext cx="868681" cy="864096"/>
            </a:xfrm>
            <a:prstGeom prst="ellipse">
              <a:avLst/>
            </a:prstGeom>
            <a:solidFill>
              <a:srgbClr val="859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79842DF1-BD53-0776-C1D9-FB4FFEAFDE94}"/>
                </a:ext>
              </a:extLst>
            </p:cNvPr>
            <p:cNvSpPr/>
            <p:nvPr/>
          </p:nvSpPr>
          <p:spPr>
            <a:xfrm>
              <a:off x="-643172" y="1240199"/>
              <a:ext cx="24817552" cy="174469"/>
            </a:xfrm>
            <a:prstGeom prst="rect">
              <a:avLst/>
            </a:prstGeom>
            <a:solidFill>
              <a:srgbClr val="859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Oval 8">
              <a:extLst>
                <a:ext uri="{FF2B5EF4-FFF2-40B4-BE49-F238E27FC236}">
                  <a16:creationId xmlns:a16="http://schemas.microsoft.com/office/drawing/2014/main" id="{C8EDEE19-6D01-CAF8-D9B7-EBE01867269E}"/>
                </a:ext>
              </a:extLst>
            </p:cNvPr>
            <p:cNvSpPr/>
            <p:nvPr/>
          </p:nvSpPr>
          <p:spPr>
            <a:xfrm>
              <a:off x="13774901" y="906234"/>
              <a:ext cx="868681" cy="864096"/>
            </a:xfrm>
            <a:prstGeom prst="ellipse">
              <a:avLst/>
            </a:prstGeom>
            <a:solidFill>
              <a:srgbClr val="859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Oval 5">
              <a:extLst>
                <a:ext uri="{FF2B5EF4-FFF2-40B4-BE49-F238E27FC236}">
                  <a16:creationId xmlns:a16="http://schemas.microsoft.com/office/drawing/2014/main" id="{0ADC093E-2C4C-756C-DA78-75A49E68D0B1}"/>
                </a:ext>
              </a:extLst>
            </p:cNvPr>
            <p:cNvSpPr/>
            <p:nvPr/>
          </p:nvSpPr>
          <p:spPr>
            <a:xfrm>
              <a:off x="2746135" y="884625"/>
              <a:ext cx="868681" cy="864096"/>
            </a:xfrm>
            <a:prstGeom prst="ellipse">
              <a:avLst/>
            </a:prstGeom>
            <a:solidFill>
              <a:srgbClr val="859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2" name="Subtitle 2">
            <a:extLst>
              <a:ext uri="{FF2B5EF4-FFF2-40B4-BE49-F238E27FC236}">
                <a16:creationId xmlns:a16="http://schemas.microsoft.com/office/drawing/2014/main" id="{6FAC6FCB-DDC6-169F-6F7D-804463E5786C}"/>
              </a:ext>
            </a:extLst>
          </p:cNvPr>
          <p:cNvSpPr txBox="1">
            <a:spLocks/>
          </p:cNvSpPr>
          <p:nvPr/>
        </p:nvSpPr>
        <p:spPr>
          <a:xfrm rot="16200000">
            <a:off x="-492619" y="2023376"/>
            <a:ext cx="2151355" cy="599041"/>
          </a:xfrm>
          <a:prstGeom prst="roundRect">
            <a:avLst/>
          </a:prstGeom>
          <a:noFill/>
          <a:ln w="12700">
            <a:solidFill>
              <a:srgbClr val="06065D"/>
            </a:solidFill>
          </a:ln>
        </p:spPr>
        <p:txBody>
          <a:bodyPr vert="horz" lIns="243744" tIns="121869" rIns="243744" bIns="121869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fr-FR" sz="1800" b="1" dirty="0">
                <a:solidFill>
                  <a:srgbClr val="23A1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MATION</a:t>
            </a:r>
          </a:p>
        </p:txBody>
      </p:sp>
      <p:grpSp>
        <p:nvGrpSpPr>
          <p:cNvPr id="43" name="Groupe 45">
            <a:extLst>
              <a:ext uri="{FF2B5EF4-FFF2-40B4-BE49-F238E27FC236}">
                <a16:creationId xmlns:a16="http://schemas.microsoft.com/office/drawing/2014/main" id="{BC25BA41-48D6-190D-AFD1-2125C00A5D0C}"/>
              </a:ext>
            </a:extLst>
          </p:cNvPr>
          <p:cNvGrpSpPr/>
          <p:nvPr/>
        </p:nvGrpSpPr>
        <p:grpSpPr>
          <a:xfrm>
            <a:off x="2709877" y="1245780"/>
            <a:ext cx="1708644" cy="4496893"/>
            <a:chOff x="4603038" y="1487826"/>
            <a:chExt cx="1708644" cy="4496893"/>
          </a:xfrm>
        </p:grpSpPr>
        <p:grpSp>
          <p:nvGrpSpPr>
            <p:cNvPr id="44" name="Groupe 47">
              <a:extLst>
                <a:ext uri="{FF2B5EF4-FFF2-40B4-BE49-F238E27FC236}">
                  <a16:creationId xmlns:a16="http://schemas.microsoft.com/office/drawing/2014/main" id="{512BC94C-9FE5-0E7D-AD41-F2419DC803E6}"/>
                </a:ext>
              </a:extLst>
            </p:cNvPr>
            <p:cNvGrpSpPr/>
            <p:nvPr/>
          </p:nvGrpSpPr>
          <p:grpSpPr>
            <a:xfrm>
              <a:off x="4603038" y="1487826"/>
              <a:ext cx="1708644" cy="2654100"/>
              <a:chOff x="5155874" y="1036440"/>
              <a:chExt cx="1708644" cy="2654100"/>
            </a:xfrm>
          </p:grpSpPr>
          <p:sp>
            <p:nvSpPr>
              <p:cNvPr id="49" name="Oval 15">
                <a:extLst>
                  <a:ext uri="{FF2B5EF4-FFF2-40B4-BE49-F238E27FC236}">
                    <a16:creationId xmlns:a16="http://schemas.microsoft.com/office/drawing/2014/main" id="{2419F0F2-3A5C-DC08-B038-B8B0FC35E608}"/>
                  </a:ext>
                </a:extLst>
              </p:cNvPr>
              <p:cNvSpPr/>
              <p:nvPr/>
            </p:nvSpPr>
            <p:spPr>
              <a:xfrm>
                <a:off x="5847631" y="3366540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0" name="Subtitle 2">
                <a:extLst>
                  <a:ext uri="{FF2B5EF4-FFF2-40B4-BE49-F238E27FC236}">
                    <a16:creationId xmlns:a16="http://schemas.microsoft.com/office/drawing/2014/main" id="{5FCC1874-9B5D-6057-753D-E6B6C3C3475A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69437" y="2824530"/>
                <a:ext cx="1061617" cy="412031"/>
              </a:xfrm>
              <a:prstGeom prst="rect">
                <a:avLst/>
              </a:prstGeom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/>
                  <a:buNone/>
                </a:pPr>
                <a:r>
                  <a:rPr lang="en-US" sz="1600" b="1" dirty="0">
                    <a:solidFill>
                      <a:srgbClr val="06065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3</a:t>
                </a:r>
                <a:endParaRPr lang="en-US" sz="1400" b="1" dirty="0">
                  <a:solidFill>
                    <a:srgbClr val="0606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1" name="Subtitle 2">
                <a:extLst>
                  <a:ext uri="{FF2B5EF4-FFF2-40B4-BE49-F238E27FC236}">
                    <a16:creationId xmlns:a16="http://schemas.microsoft.com/office/drawing/2014/main" id="{12842DC5-5BB7-82B5-8F6A-4D5B372C5B4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155874" y="1036440"/>
                <a:ext cx="1708644" cy="964411"/>
              </a:xfrm>
              <a:prstGeom prst="roundRect">
                <a:avLst/>
              </a:prstGeom>
              <a:solidFill>
                <a:srgbClr val="23A1AA"/>
              </a:solidFill>
              <a:ln>
                <a:solidFill>
                  <a:schemeClr val="tx2">
                    <a:lumMod val="75000"/>
                  </a:schemeClr>
                </a:solidFill>
              </a:ln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buNone/>
                </a:pPr>
                <a:r>
                  <a:rPr lang="fr-FR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MASTER 2</a:t>
                </a:r>
              </a:p>
              <a:p>
                <a:pPr marL="0" indent="0" algn="ctr">
                  <a:spcBef>
                    <a:spcPts val="0"/>
                  </a:spcBef>
                  <a:buNone/>
                </a:pPr>
                <a:r>
                  <a:rPr lang="fr-F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Physique du bâtiment et environnement</a:t>
                </a:r>
                <a:endParaRPr lang="fr-FR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5" name="Subtitle 2">
              <a:extLst>
                <a:ext uri="{FF2B5EF4-FFF2-40B4-BE49-F238E27FC236}">
                  <a16:creationId xmlns:a16="http://schemas.microsoft.com/office/drawing/2014/main" id="{1DB471FB-BFF0-35C6-77D4-6DADD5A4DE8E}"/>
                </a:ext>
              </a:extLst>
            </p:cNvPr>
            <p:cNvSpPr txBox="1">
              <a:spLocks/>
            </p:cNvSpPr>
            <p:nvPr/>
          </p:nvSpPr>
          <p:spPr>
            <a:xfrm>
              <a:off x="4607112" y="5222732"/>
              <a:ext cx="1647676" cy="761987"/>
            </a:xfrm>
            <a:prstGeom prst="bracketPair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txBody>
            <a:bodyPr vert="horz" lIns="243744" tIns="121869" rIns="243744" bIns="121869" rtlCol="0">
              <a:noAutofit/>
            </a:bodyPr>
            <a:lstStyle>
              <a:defPPr>
                <a:defRPr lang="fr-FR"/>
              </a:defPPr>
              <a:lvl1pPr indent="0" algn="ctr" defTabSz="457200">
                <a:spcBef>
                  <a:spcPts val="0"/>
                </a:spcBef>
                <a:buFont typeface="Arial"/>
                <a:buNone/>
                <a:defRPr sz="1400">
                  <a:solidFill>
                    <a:schemeClr val="bg2">
                      <a:lumMod val="50000"/>
                    </a:schemeClr>
                  </a:solidFill>
                  <a:latin typeface="DINPro-Medium" panose="02000503030000020004" pitchFamily="2" charset="0"/>
                  <a:cs typeface="Lato Regular"/>
                </a:defRPr>
              </a:lvl1pPr>
              <a:lvl2pPr marL="742950" indent="-285750" defTabSz="457200">
                <a:spcBef>
                  <a:spcPct val="20000"/>
                </a:spcBef>
                <a:buFont typeface="Arial"/>
                <a:buChar char="–"/>
                <a:defRPr sz="2800"/>
              </a:lvl2pPr>
              <a:lvl3pPr marL="1143000" indent="-228600" defTabSz="457200">
                <a:spcBef>
                  <a:spcPct val="20000"/>
                </a:spcBef>
                <a:buFont typeface="Arial"/>
                <a:buChar char="•"/>
                <a:defRPr sz="2400"/>
              </a:lvl3pPr>
              <a:lvl4pPr marL="1600200" indent="-228600" defTabSz="457200">
                <a:spcBef>
                  <a:spcPct val="20000"/>
                </a:spcBef>
                <a:buFont typeface="Arial"/>
                <a:buChar char="–"/>
                <a:defRPr sz="2000"/>
              </a:lvl4pPr>
              <a:lvl5pPr marL="2057400" indent="-228600" defTabSz="457200">
                <a:spcBef>
                  <a:spcPct val="20000"/>
                </a:spcBef>
                <a:buFont typeface="Arial"/>
                <a:buChar char="»"/>
                <a:defRPr sz="2000"/>
              </a:lvl5pPr>
              <a:lvl6pPr marL="25146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6pPr>
              <a:lvl7pPr marL="29718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7pPr>
              <a:lvl8pPr marL="34290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8pPr>
              <a:lvl9pPr marL="3886200" indent="-228600" defTabSz="457200">
                <a:spcBef>
                  <a:spcPct val="20000"/>
                </a:spcBef>
                <a:buFont typeface="Arial"/>
                <a:buChar char="•"/>
                <a:defRPr sz="2000"/>
              </a:lvl9pPr>
            </a:lstStyle>
            <a:p>
              <a:r>
                <a:rPr lang="fr-FR" sz="1200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GE RECHERCHE</a:t>
              </a:r>
            </a:p>
          </p:txBody>
        </p:sp>
        <p:cxnSp>
          <p:nvCxnSpPr>
            <p:cNvPr id="46" name="Connecteur droit 49">
              <a:extLst>
                <a:ext uri="{FF2B5EF4-FFF2-40B4-BE49-F238E27FC236}">
                  <a16:creationId xmlns:a16="http://schemas.microsoft.com/office/drawing/2014/main" id="{D94968DD-442F-5069-A73A-0756C0D837F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443348" y="4305853"/>
              <a:ext cx="0" cy="839146"/>
            </a:xfrm>
            <a:prstGeom prst="line">
              <a:avLst/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7" name="Image 50">
              <a:extLst>
                <a:ext uri="{FF2B5EF4-FFF2-40B4-BE49-F238E27FC236}">
                  <a16:creationId xmlns:a16="http://schemas.microsoft.com/office/drawing/2014/main" id="{33E2407D-8A32-A1C8-48F5-500EA46C70D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600"/>
            <a:stretch/>
          </p:blipFill>
          <p:spPr>
            <a:xfrm>
              <a:off x="5241419" y="2895553"/>
              <a:ext cx="446055" cy="454357"/>
            </a:xfrm>
            <a:prstGeom prst="rect">
              <a:avLst/>
            </a:prstGeom>
          </p:spPr>
        </p:pic>
        <p:cxnSp>
          <p:nvCxnSpPr>
            <p:cNvPr id="48" name="Connecteur droit 108">
              <a:extLst>
                <a:ext uri="{FF2B5EF4-FFF2-40B4-BE49-F238E27FC236}">
                  <a16:creationId xmlns:a16="http://schemas.microsoft.com/office/drawing/2014/main" id="{84B64BD8-E790-46C0-103C-43D90BC0304D}"/>
                </a:ext>
              </a:extLst>
            </p:cNvPr>
            <p:cNvCxnSpPr>
              <a:cxnSpLocks/>
              <a:stCxn id="47" idx="0"/>
              <a:endCxn id="51" idx="2"/>
            </p:cNvCxnSpPr>
            <p:nvPr/>
          </p:nvCxnSpPr>
          <p:spPr>
            <a:xfrm flipH="1" flipV="1">
              <a:off x="5457360" y="2452237"/>
              <a:ext cx="7087" cy="443316"/>
            </a:xfrm>
            <a:prstGeom prst="line">
              <a:avLst/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2" name="Subtitle 2">
            <a:extLst>
              <a:ext uri="{FF2B5EF4-FFF2-40B4-BE49-F238E27FC236}">
                <a16:creationId xmlns:a16="http://schemas.microsoft.com/office/drawing/2014/main" id="{B10E53BF-D9FA-0D10-63B6-E834E24479BB}"/>
              </a:ext>
            </a:extLst>
          </p:cNvPr>
          <p:cNvSpPr txBox="1">
            <a:spLocks/>
          </p:cNvSpPr>
          <p:nvPr/>
        </p:nvSpPr>
        <p:spPr>
          <a:xfrm rot="16200000">
            <a:off x="-630615" y="4958106"/>
            <a:ext cx="2402962" cy="579419"/>
          </a:xfrm>
          <a:prstGeom prst="roundRect">
            <a:avLst/>
          </a:prstGeom>
          <a:noFill/>
          <a:ln w="12700">
            <a:solidFill>
              <a:srgbClr val="06065D"/>
            </a:solidFill>
          </a:ln>
        </p:spPr>
        <p:txBody>
          <a:bodyPr vert="horz" lIns="243744" tIns="121869" rIns="243744" bIns="121869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fr-FR" sz="1800" b="1" dirty="0">
                <a:solidFill>
                  <a:srgbClr val="23A1A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RIENCES</a:t>
            </a:r>
          </a:p>
        </p:txBody>
      </p:sp>
      <p:grpSp>
        <p:nvGrpSpPr>
          <p:cNvPr id="53" name="Groupe 56">
            <a:extLst>
              <a:ext uri="{FF2B5EF4-FFF2-40B4-BE49-F238E27FC236}">
                <a16:creationId xmlns:a16="http://schemas.microsoft.com/office/drawing/2014/main" id="{C65B1CEC-730C-001C-6835-995E021CD12B}"/>
              </a:ext>
            </a:extLst>
          </p:cNvPr>
          <p:cNvGrpSpPr/>
          <p:nvPr/>
        </p:nvGrpSpPr>
        <p:grpSpPr>
          <a:xfrm>
            <a:off x="7149519" y="3014392"/>
            <a:ext cx="2767012" cy="3472923"/>
            <a:chOff x="8703037" y="3256438"/>
            <a:chExt cx="2767012" cy="3472923"/>
          </a:xfrm>
        </p:grpSpPr>
        <p:sp>
          <p:nvSpPr>
            <p:cNvPr id="54" name="Oval 9">
              <a:extLst>
                <a:ext uri="{FF2B5EF4-FFF2-40B4-BE49-F238E27FC236}">
                  <a16:creationId xmlns:a16="http://schemas.microsoft.com/office/drawing/2014/main" id="{453FB319-1DF1-38F1-0A01-6C9767F66CBA}"/>
                </a:ext>
              </a:extLst>
            </p:cNvPr>
            <p:cNvSpPr/>
            <p:nvPr/>
          </p:nvSpPr>
          <p:spPr>
            <a:xfrm>
              <a:off x="10723202" y="3752087"/>
              <a:ext cx="428433" cy="412830"/>
            </a:xfrm>
            <a:prstGeom prst="ellipse">
              <a:avLst/>
            </a:prstGeom>
            <a:solidFill>
              <a:srgbClr val="8597B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Groupe 58">
              <a:extLst>
                <a:ext uri="{FF2B5EF4-FFF2-40B4-BE49-F238E27FC236}">
                  <a16:creationId xmlns:a16="http://schemas.microsoft.com/office/drawing/2014/main" id="{95561336-9028-1989-65DB-060E853444F6}"/>
                </a:ext>
              </a:extLst>
            </p:cNvPr>
            <p:cNvGrpSpPr/>
            <p:nvPr/>
          </p:nvGrpSpPr>
          <p:grpSpPr>
            <a:xfrm>
              <a:off x="10408432" y="3256438"/>
              <a:ext cx="1061617" cy="864303"/>
              <a:chOff x="8038621" y="2833189"/>
              <a:chExt cx="1061617" cy="864303"/>
            </a:xfrm>
          </p:grpSpPr>
          <p:sp>
            <p:nvSpPr>
              <p:cNvPr id="94" name="Oval 15">
                <a:extLst>
                  <a:ext uri="{FF2B5EF4-FFF2-40B4-BE49-F238E27FC236}">
                    <a16:creationId xmlns:a16="http://schemas.microsoft.com/office/drawing/2014/main" id="{AC7B4652-7FB4-2336-5779-C1596DBCFB90}"/>
                  </a:ext>
                </a:extLst>
              </p:cNvPr>
              <p:cNvSpPr/>
              <p:nvPr/>
            </p:nvSpPr>
            <p:spPr>
              <a:xfrm>
                <a:off x="8403552" y="3373492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Subtitle 2">
                <a:extLst>
                  <a:ext uri="{FF2B5EF4-FFF2-40B4-BE49-F238E27FC236}">
                    <a16:creationId xmlns:a16="http://schemas.microsoft.com/office/drawing/2014/main" id="{37DB65FE-1B08-B16B-5C98-00380D49BA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8038621" y="2833189"/>
                <a:ext cx="1061617" cy="412031"/>
              </a:xfrm>
              <a:prstGeom prst="rect">
                <a:avLst/>
              </a:prstGeom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/>
                  <a:buNone/>
                </a:pPr>
                <a:r>
                  <a:rPr lang="en-US" sz="1600" b="1" dirty="0">
                    <a:solidFill>
                      <a:srgbClr val="06065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20</a:t>
                </a:r>
                <a:endParaRPr lang="en-US" sz="1400" b="1" dirty="0">
                  <a:solidFill>
                    <a:srgbClr val="0606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0" name="Subtitle 2">
              <a:extLst>
                <a:ext uri="{FF2B5EF4-FFF2-40B4-BE49-F238E27FC236}">
                  <a16:creationId xmlns:a16="http://schemas.microsoft.com/office/drawing/2014/main" id="{461DC882-8870-A7E1-B3F4-374B818D39F7}"/>
                </a:ext>
              </a:extLst>
            </p:cNvPr>
            <p:cNvSpPr txBox="1">
              <a:spLocks/>
            </p:cNvSpPr>
            <p:nvPr/>
          </p:nvSpPr>
          <p:spPr>
            <a:xfrm>
              <a:off x="8703037" y="6006910"/>
              <a:ext cx="2602399" cy="722451"/>
            </a:xfrm>
            <a:prstGeom prst="bracketPair">
              <a:avLst/>
            </a:prstGeom>
            <a:ln>
              <a:solidFill>
                <a:schemeClr val="tx2">
                  <a:lumMod val="75000"/>
                </a:schemeClr>
              </a:solidFill>
            </a:ln>
          </p:spPr>
          <p:txBody>
            <a:bodyPr vert="horz" lIns="243744" tIns="121869" rIns="243744" bIns="121869" rtlCol="0" anchor="ctr">
              <a:no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spcBef>
                  <a:spcPts val="0"/>
                </a:spcBef>
                <a:buNone/>
              </a:pPr>
              <a:r>
                <a:rPr lang="fr-FR" sz="1200" dirty="0">
                  <a:latin typeface="Arial" panose="020B0604020202020204" pitchFamily="34" charset="0"/>
                  <a:cs typeface="Arial" panose="020B0604020202020204" pitchFamily="34" charset="0"/>
                </a:rPr>
                <a:t>ENSEIGNANT CONTRACTUEL</a:t>
              </a:r>
            </a:p>
            <a:p>
              <a:pPr marL="0" indent="0" algn="ctr">
                <a:spcBef>
                  <a:spcPts val="0"/>
                </a:spcBef>
                <a:buNone/>
              </a:pPr>
              <a:r>
                <a:rPr lang="fr-FR" sz="1200" dirty="0">
                  <a:latin typeface="Arial" panose="020B0604020202020204" pitchFamily="34" charset="0"/>
                  <a:cs typeface="Arial" panose="020B0604020202020204" pitchFamily="34" charset="0"/>
                </a:rPr>
                <a:t>FACULTE SHE - UR</a:t>
              </a:r>
            </a:p>
          </p:txBody>
        </p:sp>
        <p:sp>
          <p:nvSpPr>
            <p:cNvPr id="91" name="Accolade ouvrante 60">
              <a:extLst>
                <a:ext uri="{FF2B5EF4-FFF2-40B4-BE49-F238E27FC236}">
                  <a16:creationId xmlns:a16="http://schemas.microsoft.com/office/drawing/2014/main" id="{9A618905-3075-CC29-0336-16667881E6FA}"/>
                </a:ext>
              </a:extLst>
            </p:cNvPr>
            <p:cNvSpPr/>
            <p:nvPr/>
          </p:nvSpPr>
          <p:spPr>
            <a:xfrm rot="16200000">
              <a:off x="9726400" y="3484640"/>
              <a:ext cx="365113" cy="1966313"/>
            </a:xfrm>
            <a:prstGeom prst="leftBrace">
              <a:avLst>
                <a:gd name="adj1" fmla="val 35430"/>
                <a:gd name="adj2" fmla="val 50000"/>
              </a:avLst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fr-FR" sz="16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92" name="Connecteur droit 61">
              <a:extLst>
                <a:ext uri="{FF2B5EF4-FFF2-40B4-BE49-F238E27FC236}">
                  <a16:creationId xmlns:a16="http://schemas.microsoft.com/office/drawing/2014/main" id="{69DA548D-670A-C20A-3FC4-BCB2E31A09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941607" y="4725426"/>
              <a:ext cx="0" cy="914219"/>
            </a:xfrm>
            <a:prstGeom prst="line">
              <a:avLst/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3" name="Image 62">
              <a:extLst>
                <a:ext uri="{FF2B5EF4-FFF2-40B4-BE49-F238E27FC236}">
                  <a16:creationId xmlns:a16="http://schemas.microsoft.com/office/drawing/2014/main" id="{44F3C905-0291-EFEA-2B7A-2AFD47CC8EE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1554" b="4904"/>
            <a:stretch/>
          </p:blipFill>
          <p:spPr>
            <a:xfrm>
              <a:off x="9685569" y="5580543"/>
              <a:ext cx="446773" cy="432076"/>
            </a:xfrm>
            <a:prstGeom prst="rect">
              <a:avLst/>
            </a:prstGeom>
          </p:spPr>
        </p:pic>
      </p:grpSp>
      <p:grpSp>
        <p:nvGrpSpPr>
          <p:cNvPr id="96" name="Groupe 111">
            <a:extLst>
              <a:ext uri="{FF2B5EF4-FFF2-40B4-BE49-F238E27FC236}">
                <a16:creationId xmlns:a16="http://schemas.microsoft.com/office/drawing/2014/main" id="{C40F101B-DE3F-5A39-98E9-494CFA9C40E5}"/>
              </a:ext>
            </a:extLst>
          </p:cNvPr>
          <p:cNvGrpSpPr/>
          <p:nvPr/>
        </p:nvGrpSpPr>
        <p:grpSpPr>
          <a:xfrm>
            <a:off x="4285786" y="1262828"/>
            <a:ext cx="3925343" cy="4462004"/>
            <a:chOff x="2975084" y="1262828"/>
            <a:chExt cx="3925343" cy="4462004"/>
          </a:xfrm>
        </p:grpSpPr>
        <p:grpSp>
          <p:nvGrpSpPr>
            <p:cNvPr id="97" name="Groupe 76">
              <a:extLst>
                <a:ext uri="{FF2B5EF4-FFF2-40B4-BE49-F238E27FC236}">
                  <a16:creationId xmlns:a16="http://schemas.microsoft.com/office/drawing/2014/main" id="{67C05295-9028-3D16-3DD7-E2A3FC486855}"/>
                </a:ext>
              </a:extLst>
            </p:cNvPr>
            <p:cNvGrpSpPr/>
            <p:nvPr/>
          </p:nvGrpSpPr>
          <p:grpSpPr>
            <a:xfrm>
              <a:off x="2975084" y="1262828"/>
              <a:ext cx="3925343" cy="4462004"/>
              <a:chOff x="6349238" y="1491292"/>
              <a:chExt cx="3925343" cy="4462004"/>
            </a:xfrm>
          </p:grpSpPr>
          <p:sp>
            <p:nvSpPr>
              <p:cNvPr id="99" name="Subtitle 2">
                <a:extLst>
                  <a:ext uri="{FF2B5EF4-FFF2-40B4-BE49-F238E27FC236}">
                    <a16:creationId xmlns:a16="http://schemas.microsoft.com/office/drawing/2014/main" id="{1C64E21D-7AB4-4CA5-7292-D4BED7AC69DB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938435" y="5191309"/>
                <a:ext cx="2296515" cy="761987"/>
              </a:xfrm>
              <a:prstGeom prst="bracketPair">
                <a:avLst/>
              </a:prstGeom>
              <a:ln>
                <a:solidFill>
                  <a:schemeClr val="tx2">
                    <a:lumMod val="75000"/>
                  </a:schemeClr>
                </a:solidFill>
              </a:ln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buNone/>
                </a:pPr>
                <a:r>
                  <a:rPr lang="fr-F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THESE DE DOCTORAT</a:t>
                </a:r>
              </a:p>
            </p:txBody>
          </p:sp>
          <p:grpSp>
            <p:nvGrpSpPr>
              <p:cNvPr id="100" name="Groupe 80">
                <a:extLst>
                  <a:ext uri="{FF2B5EF4-FFF2-40B4-BE49-F238E27FC236}">
                    <a16:creationId xmlns:a16="http://schemas.microsoft.com/office/drawing/2014/main" id="{89D90E92-DEB3-CC4D-FD9D-C87DAD239425}"/>
                  </a:ext>
                </a:extLst>
              </p:cNvPr>
              <p:cNvGrpSpPr/>
              <p:nvPr/>
            </p:nvGrpSpPr>
            <p:grpSpPr>
              <a:xfrm>
                <a:off x="8492736" y="1491292"/>
                <a:ext cx="1781845" cy="2635775"/>
                <a:chOff x="8172110" y="1039906"/>
                <a:chExt cx="1781845" cy="2635775"/>
              </a:xfrm>
            </p:grpSpPr>
            <p:sp>
              <p:nvSpPr>
                <p:cNvPr id="105" name="Oval 15">
                  <a:extLst>
                    <a:ext uri="{FF2B5EF4-FFF2-40B4-BE49-F238E27FC236}">
                      <a16:creationId xmlns:a16="http://schemas.microsoft.com/office/drawing/2014/main" id="{737322E5-4319-036D-7195-7F19109E81E0}"/>
                    </a:ext>
                  </a:extLst>
                </p:cNvPr>
                <p:cNvSpPr/>
                <p:nvPr/>
              </p:nvSpPr>
              <p:spPr>
                <a:xfrm>
                  <a:off x="8892345" y="3351681"/>
                  <a:ext cx="324000" cy="324000"/>
                </a:xfrm>
                <a:prstGeom prst="ellipse">
                  <a:avLst/>
                </a:prstGeom>
                <a:solidFill>
                  <a:schemeClr val="bg1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6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6" name="Subtitle 2">
                  <a:extLst>
                    <a:ext uri="{FF2B5EF4-FFF2-40B4-BE49-F238E27FC236}">
                      <a16:creationId xmlns:a16="http://schemas.microsoft.com/office/drawing/2014/main" id="{1FB9D0D9-FDC7-3AE4-DB0F-DC9096FDE4D0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509266" y="2833189"/>
                  <a:ext cx="1061617" cy="412031"/>
                </a:xfrm>
                <a:prstGeom prst="rect">
                  <a:avLst/>
                </a:prstGeom>
              </p:spPr>
              <p:txBody>
                <a:bodyPr vert="horz" lIns="243744" tIns="121869" rIns="243744" bIns="121869" rtlCol="0" anchor="ctr">
                  <a:noAutofit/>
                </a:bodyPr>
                <a:lstStyle>
                  <a:lvl1pPr marL="342900" indent="-3429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3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2950" indent="-285750" algn="l" defTabSz="457200" rtl="0" eaLnBrk="1" latinLnBrk="0" hangingPunct="1">
                    <a:spcBef>
                      <a:spcPct val="20000"/>
                    </a:spcBef>
                    <a:buFont typeface="Arial"/>
                    <a:buChar char="–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–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»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buFont typeface="Arial"/>
                    <a:buNone/>
                  </a:pPr>
                  <a:r>
                    <a:rPr lang="en-US" sz="1600" b="1" dirty="0">
                      <a:solidFill>
                        <a:srgbClr val="06065D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8</a:t>
                  </a:r>
                  <a:endParaRPr lang="en-US" sz="1400" b="1" dirty="0">
                    <a:solidFill>
                      <a:srgbClr val="06065D"/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7" name="Subtitle 2">
                  <a:extLst>
                    <a:ext uri="{FF2B5EF4-FFF2-40B4-BE49-F238E27FC236}">
                      <a16:creationId xmlns:a16="http://schemas.microsoft.com/office/drawing/2014/main" id="{CAD089ED-9F4B-7CB7-F7ED-A2C2E7C0456A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8172110" y="1039906"/>
                  <a:ext cx="1781845" cy="938672"/>
                </a:xfrm>
                <a:prstGeom prst="roundRect">
                  <a:avLst/>
                </a:prstGeom>
                <a:solidFill>
                  <a:srgbClr val="008000"/>
                </a:solidFill>
                <a:ln>
                  <a:solidFill>
                    <a:schemeClr val="tx2">
                      <a:lumMod val="75000"/>
                    </a:schemeClr>
                  </a:solidFill>
                </a:ln>
              </p:spPr>
              <p:txBody>
                <a:bodyPr vert="horz" lIns="243744" tIns="121869" rIns="243744" bIns="121869" rtlCol="0" anchor="ctr">
                  <a:noAutofit/>
                </a:bodyPr>
                <a:lstStyle>
                  <a:lvl1pPr marL="342900" indent="-3429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32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2950" indent="-285750" algn="l" defTabSz="457200" rtl="0" eaLnBrk="1" latinLnBrk="0" hangingPunct="1">
                    <a:spcBef>
                      <a:spcPct val="20000"/>
                    </a:spcBef>
                    <a:buFont typeface="Arial"/>
                    <a:buChar char="–"/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11430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6002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–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20574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»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5146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9718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4290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886200" indent="-228600" algn="l" defTabSz="457200" rtl="0" eaLnBrk="1" latinLnBrk="0" hangingPunct="1">
                    <a:spcBef>
                      <a:spcPct val="20000"/>
                    </a:spcBef>
                    <a:buFont typeface="Arial"/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indent="0" algn="ctr">
                    <a:spcBef>
                      <a:spcPts val="0"/>
                    </a:spcBef>
                    <a:buNone/>
                  </a:pPr>
                  <a:r>
                    <a:rPr lang="fr-FR" sz="1400" b="1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DOCTORAT</a:t>
                  </a:r>
                </a:p>
                <a:p>
                  <a:pPr marL="0" indent="0" algn="ctr">
                    <a:spcBef>
                      <a:spcPts val="0"/>
                    </a:spcBef>
                    <a:buNone/>
                  </a:pPr>
                  <a:r>
                    <a:rPr lang="fr-FR" sz="1200" dirty="0">
                      <a:latin typeface="Arial" panose="020B0604020202020204" pitchFamily="34" charset="0"/>
                      <a:cs typeface="Arial" panose="020B0604020202020204" pitchFamily="34" charset="0"/>
                    </a:rPr>
                    <a:t>Physique et applications</a:t>
                  </a:r>
                  <a:endParaRPr lang="en-US" sz="1100" dirty="0"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8" name="Freeform 101">
                  <a:extLst>
                    <a:ext uri="{FF2B5EF4-FFF2-40B4-BE49-F238E27FC236}">
                      <a16:creationId xmlns:a16="http://schemas.microsoft.com/office/drawing/2014/main" id="{7F7BB2C6-251D-B348-8AD1-89448FE2598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8914324" y="3415186"/>
                  <a:ext cx="270981" cy="208631"/>
                </a:xfrm>
                <a:custGeom>
                  <a:avLst/>
                  <a:gdLst>
                    <a:gd name="T0" fmla="*/ 80 w 497"/>
                    <a:gd name="T1" fmla="*/ 248 h 382"/>
                    <a:gd name="T2" fmla="*/ 80 w 497"/>
                    <a:gd name="T3" fmla="*/ 248 h 382"/>
                    <a:gd name="T4" fmla="*/ 159 w 497"/>
                    <a:gd name="T5" fmla="*/ 328 h 382"/>
                    <a:gd name="T6" fmla="*/ 248 w 497"/>
                    <a:gd name="T7" fmla="*/ 381 h 382"/>
                    <a:gd name="T8" fmla="*/ 337 w 497"/>
                    <a:gd name="T9" fmla="*/ 337 h 382"/>
                    <a:gd name="T10" fmla="*/ 390 w 497"/>
                    <a:gd name="T11" fmla="*/ 258 h 382"/>
                    <a:gd name="T12" fmla="*/ 248 w 497"/>
                    <a:gd name="T13" fmla="*/ 328 h 382"/>
                    <a:gd name="T14" fmla="*/ 80 w 497"/>
                    <a:gd name="T15" fmla="*/ 248 h 382"/>
                    <a:gd name="T16" fmla="*/ 487 w 497"/>
                    <a:gd name="T17" fmla="*/ 124 h 382"/>
                    <a:gd name="T18" fmla="*/ 487 w 497"/>
                    <a:gd name="T19" fmla="*/ 124 h 382"/>
                    <a:gd name="T20" fmla="*/ 274 w 497"/>
                    <a:gd name="T21" fmla="*/ 9 h 382"/>
                    <a:gd name="T22" fmla="*/ 221 w 497"/>
                    <a:gd name="T23" fmla="*/ 9 h 382"/>
                    <a:gd name="T24" fmla="*/ 9 w 497"/>
                    <a:gd name="T25" fmla="*/ 124 h 382"/>
                    <a:gd name="T26" fmla="*/ 9 w 497"/>
                    <a:gd name="T27" fmla="*/ 160 h 382"/>
                    <a:gd name="T28" fmla="*/ 221 w 497"/>
                    <a:gd name="T29" fmla="*/ 275 h 382"/>
                    <a:gd name="T30" fmla="*/ 274 w 497"/>
                    <a:gd name="T31" fmla="*/ 275 h 382"/>
                    <a:gd name="T32" fmla="*/ 408 w 497"/>
                    <a:gd name="T33" fmla="*/ 195 h 382"/>
                    <a:gd name="T34" fmla="*/ 266 w 497"/>
                    <a:gd name="T35" fmla="*/ 160 h 382"/>
                    <a:gd name="T36" fmla="*/ 248 w 497"/>
                    <a:gd name="T37" fmla="*/ 168 h 382"/>
                    <a:gd name="T38" fmla="*/ 203 w 497"/>
                    <a:gd name="T39" fmla="*/ 133 h 382"/>
                    <a:gd name="T40" fmla="*/ 248 w 497"/>
                    <a:gd name="T41" fmla="*/ 107 h 382"/>
                    <a:gd name="T42" fmla="*/ 293 w 497"/>
                    <a:gd name="T43" fmla="*/ 124 h 382"/>
                    <a:gd name="T44" fmla="*/ 443 w 497"/>
                    <a:gd name="T45" fmla="*/ 177 h 382"/>
                    <a:gd name="T46" fmla="*/ 487 w 497"/>
                    <a:gd name="T47" fmla="*/ 160 h 382"/>
                    <a:gd name="T48" fmla="*/ 487 w 497"/>
                    <a:gd name="T49" fmla="*/ 124 h 382"/>
                    <a:gd name="T50" fmla="*/ 425 w 497"/>
                    <a:gd name="T51" fmla="*/ 346 h 382"/>
                    <a:gd name="T52" fmla="*/ 425 w 497"/>
                    <a:gd name="T53" fmla="*/ 346 h 382"/>
                    <a:gd name="T54" fmla="*/ 461 w 497"/>
                    <a:gd name="T55" fmla="*/ 337 h 382"/>
                    <a:gd name="T56" fmla="*/ 443 w 497"/>
                    <a:gd name="T57" fmla="*/ 177 h 382"/>
                    <a:gd name="T58" fmla="*/ 408 w 497"/>
                    <a:gd name="T59" fmla="*/ 195 h 382"/>
                    <a:gd name="T60" fmla="*/ 425 w 497"/>
                    <a:gd name="T61" fmla="*/ 346 h 3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97" h="382">
                      <a:moveTo>
                        <a:pt x="80" y="248"/>
                      </a:moveTo>
                      <a:lnTo>
                        <a:pt x="80" y="248"/>
                      </a:lnTo>
                      <a:cubicBezTo>
                        <a:pt x="97" y="293"/>
                        <a:pt x="106" y="311"/>
                        <a:pt x="159" y="328"/>
                      </a:cubicBezTo>
                      <a:cubicBezTo>
                        <a:pt x="203" y="355"/>
                        <a:pt x="230" y="381"/>
                        <a:pt x="248" y="381"/>
                      </a:cubicBezTo>
                      <a:cubicBezTo>
                        <a:pt x="266" y="381"/>
                        <a:pt x="293" y="355"/>
                        <a:pt x="337" y="337"/>
                      </a:cubicBezTo>
                      <a:cubicBezTo>
                        <a:pt x="390" y="311"/>
                        <a:pt x="372" y="311"/>
                        <a:pt x="390" y="258"/>
                      </a:cubicBezTo>
                      <a:cubicBezTo>
                        <a:pt x="248" y="328"/>
                        <a:pt x="248" y="328"/>
                        <a:pt x="248" y="328"/>
                      </a:cubicBezTo>
                      <a:lnTo>
                        <a:pt x="80" y="248"/>
                      </a:lnTo>
                      <a:close/>
                      <a:moveTo>
                        <a:pt x="487" y="124"/>
                      </a:moveTo>
                      <a:lnTo>
                        <a:pt x="487" y="124"/>
                      </a:lnTo>
                      <a:cubicBezTo>
                        <a:pt x="274" y="9"/>
                        <a:pt x="274" y="9"/>
                        <a:pt x="274" y="9"/>
                      </a:cubicBezTo>
                      <a:cubicBezTo>
                        <a:pt x="266" y="0"/>
                        <a:pt x="239" y="0"/>
                        <a:pt x="221" y="9"/>
                      </a:cubicBezTo>
                      <a:cubicBezTo>
                        <a:pt x="9" y="124"/>
                        <a:pt x="9" y="124"/>
                        <a:pt x="9" y="124"/>
                      </a:cubicBezTo>
                      <a:cubicBezTo>
                        <a:pt x="0" y="133"/>
                        <a:pt x="0" y="142"/>
                        <a:pt x="9" y="160"/>
                      </a:cubicBezTo>
                      <a:cubicBezTo>
                        <a:pt x="221" y="275"/>
                        <a:pt x="221" y="275"/>
                        <a:pt x="221" y="275"/>
                      </a:cubicBezTo>
                      <a:cubicBezTo>
                        <a:pt x="239" y="284"/>
                        <a:pt x="266" y="284"/>
                        <a:pt x="274" y="275"/>
                      </a:cubicBezTo>
                      <a:cubicBezTo>
                        <a:pt x="408" y="195"/>
                        <a:pt x="408" y="195"/>
                        <a:pt x="408" y="195"/>
                      </a:cubicBezTo>
                      <a:cubicBezTo>
                        <a:pt x="266" y="160"/>
                        <a:pt x="266" y="160"/>
                        <a:pt x="266" y="160"/>
                      </a:cubicBezTo>
                      <a:cubicBezTo>
                        <a:pt x="257" y="160"/>
                        <a:pt x="257" y="168"/>
                        <a:pt x="248" y="168"/>
                      </a:cubicBezTo>
                      <a:cubicBezTo>
                        <a:pt x="221" y="168"/>
                        <a:pt x="203" y="151"/>
                        <a:pt x="203" y="133"/>
                      </a:cubicBezTo>
                      <a:cubicBezTo>
                        <a:pt x="203" y="124"/>
                        <a:pt x="221" y="107"/>
                        <a:pt x="248" y="107"/>
                      </a:cubicBezTo>
                      <a:cubicBezTo>
                        <a:pt x="266" y="107"/>
                        <a:pt x="284" y="115"/>
                        <a:pt x="293" y="124"/>
                      </a:cubicBezTo>
                      <a:cubicBezTo>
                        <a:pt x="443" y="177"/>
                        <a:pt x="443" y="177"/>
                        <a:pt x="443" y="177"/>
                      </a:cubicBezTo>
                      <a:cubicBezTo>
                        <a:pt x="487" y="160"/>
                        <a:pt x="487" y="160"/>
                        <a:pt x="487" y="160"/>
                      </a:cubicBezTo>
                      <a:cubicBezTo>
                        <a:pt x="496" y="142"/>
                        <a:pt x="496" y="133"/>
                        <a:pt x="487" y="124"/>
                      </a:cubicBezTo>
                      <a:close/>
                      <a:moveTo>
                        <a:pt x="425" y="346"/>
                      </a:moveTo>
                      <a:lnTo>
                        <a:pt x="425" y="346"/>
                      </a:lnTo>
                      <a:cubicBezTo>
                        <a:pt x="416" y="355"/>
                        <a:pt x="452" y="364"/>
                        <a:pt x="461" y="337"/>
                      </a:cubicBezTo>
                      <a:cubicBezTo>
                        <a:pt x="469" y="213"/>
                        <a:pt x="443" y="177"/>
                        <a:pt x="443" y="177"/>
                      </a:cubicBezTo>
                      <a:cubicBezTo>
                        <a:pt x="408" y="195"/>
                        <a:pt x="408" y="195"/>
                        <a:pt x="408" y="195"/>
                      </a:cubicBezTo>
                      <a:cubicBezTo>
                        <a:pt x="408" y="195"/>
                        <a:pt x="443" y="222"/>
                        <a:pt x="425" y="346"/>
                      </a:cubicBezTo>
                      <a:close/>
                    </a:path>
                  </a:pathLst>
                </a:custGeom>
                <a:solidFill>
                  <a:srgbClr val="8597B1"/>
                </a:solidFill>
                <a:ln>
                  <a:noFill/>
                </a:ln>
                <a:effectLst/>
              </p:spPr>
              <p:txBody>
                <a:bodyPr wrap="none" anchor="ctr"/>
                <a:lstStyle/>
                <a:p>
                  <a:pPr marL="0" marR="0" lvl="0" indent="0" defTabSz="4572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pic>
            <p:nvPicPr>
              <p:cNvPr id="101" name="Picture 2" descr="UNIVERSITY OF ANTANANARIVO">
                <a:extLst>
                  <a:ext uri="{FF2B5EF4-FFF2-40B4-BE49-F238E27FC236}">
                    <a16:creationId xmlns:a16="http://schemas.microsoft.com/office/drawing/2014/main" id="{27FE68C2-2968-AF1B-0482-F88E876069D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97650" y="2621041"/>
                <a:ext cx="574137" cy="6739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02" name="Subtitle 2">
                <a:extLst>
                  <a:ext uri="{FF2B5EF4-FFF2-40B4-BE49-F238E27FC236}">
                    <a16:creationId xmlns:a16="http://schemas.microsoft.com/office/drawing/2014/main" id="{57967B4A-FF4A-588D-9FA2-6E6F7487DC39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49238" y="3266598"/>
                <a:ext cx="1061617" cy="412031"/>
              </a:xfrm>
              <a:prstGeom prst="rect">
                <a:avLst/>
              </a:prstGeom>
            </p:spPr>
            <p:txBody>
              <a:bodyPr vert="horz" lIns="243744" tIns="121869" rIns="243744" bIns="121869" rtlCol="0" anchor="ctr">
                <a:noAutofit/>
              </a:bodyPr>
              <a:lstStyle>
                <a:defPPr>
                  <a:defRPr lang="fr-FR"/>
                </a:defPPr>
                <a:lvl1pPr indent="0" algn="ctr" defTabSz="457200">
                  <a:spcBef>
                    <a:spcPct val="20000"/>
                  </a:spcBef>
                  <a:buFont typeface="Arial"/>
                  <a:buNone/>
                  <a:defRPr b="1">
                    <a:solidFill>
                      <a:schemeClr val="tx2">
                        <a:lumMod val="75000"/>
                      </a:schemeClr>
                    </a:solidFill>
                    <a:latin typeface="Raleway Medium"/>
                    <a:cs typeface="Lato Regular"/>
                  </a:defRPr>
                </a:lvl1pPr>
                <a:lvl2pPr marL="742950" indent="-285750" defTabSz="457200">
                  <a:spcBef>
                    <a:spcPct val="20000"/>
                  </a:spcBef>
                  <a:buFont typeface="Arial"/>
                  <a:buChar char="–"/>
                  <a:defRPr sz="2800"/>
                </a:lvl2pPr>
                <a:lvl3pPr marL="1143000" indent="-228600" defTabSz="457200">
                  <a:spcBef>
                    <a:spcPct val="20000"/>
                  </a:spcBef>
                  <a:buFont typeface="Arial"/>
                  <a:buChar char="•"/>
                  <a:defRPr sz="2400"/>
                </a:lvl3pPr>
                <a:lvl4pPr marL="1600200" indent="-228600" defTabSz="457200">
                  <a:spcBef>
                    <a:spcPct val="20000"/>
                  </a:spcBef>
                  <a:buFont typeface="Arial"/>
                  <a:buChar char="–"/>
                  <a:defRPr sz="2000"/>
                </a:lvl4pPr>
                <a:lvl5pPr marL="2057400" indent="-228600" defTabSz="457200">
                  <a:spcBef>
                    <a:spcPct val="20000"/>
                  </a:spcBef>
                  <a:buFont typeface="Arial"/>
                  <a:buChar char="»"/>
                  <a:defRPr sz="2000"/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9pPr>
              </a:lstStyle>
              <a:p>
                <a:r>
                  <a:rPr lang="en-US" sz="1600" dirty="0">
                    <a:solidFill>
                      <a:srgbClr val="06065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5</a:t>
                </a:r>
              </a:p>
            </p:txBody>
          </p:sp>
          <p:sp>
            <p:nvSpPr>
              <p:cNvPr id="103" name="Rectangle 102">
                <a:extLst>
                  <a:ext uri="{FF2B5EF4-FFF2-40B4-BE49-F238E27FC236}">
                    <a16:creationId xmlns:a16="http://schemas.microsoft.com/office/drawing/2014/main" id="{94EB2B87-EF67-81A0-086A-83614B701E30}"/>
                  </a:ext>
                </a:extLst>
              </p:cNvPr>
              <p:cNvSpPr/>
              <p:nvPr/>
            </p:nvSpPr>
            <p:spPr>
              <a:xfrm>
                <a:off x="6847840" y="3816514"/>
                <a:ext cx="68616" cy="321354"/>
              </a:xfrm>
              <a:prstGeom prst="rect">
                <a:avLst/>
              </a:prstGeom>
              <a:solidFill>
                <a:srgbClr val="8597B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fr-FR" sz="16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Accolade ouvrante 84">
                <a:extLst>
                  <a:ext uri="{FF2B5EF4-FFF2-40B4-BE49-F238E27FC236}">
                    <a16:creationId xmlns:a16="http://schemas.microsoft.com/office/drawing/2014/main" id="{BF9034C0-5035-1135-4628-CCF359356180}"/>
                  </a:ext>
                </a:extLst>
              </p:cNvPr>
              <p:cNvSpPr/>
              <p:nvPr/>
            </p:nvSpPr>
            <p:spPr>
              <a:xfrm rot="16200000">
                <a:off x="7963699" y="3217664"/>
                <a:ext cx="330943" cy="2480428"/>
              </a:xfrm>
              <a:prstGeom prst="leftBrace">
                <a:avLst>
                  <a:gd name="adj1" fmla="val 35430"/>
                  <a:gd name="adj2" fmla="val 50000"/>
                </a:avLst>
              </a:prstGeom>
              <a:ln w="12700">
                <a:solidFill>
                  <a:srgbClr val="76717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fr-FR" sz="16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98" name="Connecteur droit 110">
              <a:extLst>
                <a:ext uri="{FF2B5EF4-FFF2-40B4-BE49-F238E27FC236}">
                  <a16:creationId xmlns:a16="http://schemas.microsoft.com/office/drawing/2014/main" id="{80232CA6-6739-22E9-D1F4-3F25AB591845}"/>
                </a:ext>
              </a:extLst>
            </p:cNvPr>
            <p:cNvCxnSpPr>
              <a:cxnSpLocks/>
              <a:stCxn id="101" idx="0"/>
            </p:cNvCxnSpPr>
            <p:nvPr/>
          </p:nvCxnSpPr>
          <p:spPr>
            <a:xfrm flipV="1">
              <a:off x="6010565" y="2189944"/>
              <a:ext cx="3245" cy="202633"/>
            </a:xfrm>
            <a:prstGeom prst="line">
              <a:avLst/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Graphique 115" descr="Ruban avec un remplissage uni">
            <a:extLst>
              <a:ext uri="{FF2B5EF4-FFF2-40B4-BE49-F238E27FC236}">
                <a16:creationId xmlns:a16="http://schemas.microsoft.com/office/drawing/2014/main" id="{F3EC8F95-E5DC-6523-C802-D9F879C131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38435" y="3573919"/>
            <a:ext cx="287109" cy="287109"/>
          </a:xfrm>
          <a:prstGeom prst="rect">
            <a:avLst/>
          </a:prstGeom>
        </p:spPr>
      </p:pic>
      <p:sp>
        <p:nvSpPr>
          <p:cNvPr id="110" name="Subtitle 2">
            <a:extLst>
              <a:ext uri="{FF2B5EF4-FFF2-40B4-BE49-F238E27FC236}">
                <a16:creationId xmlns:a16="http://schemas.microsoft.com/office/drawing/2014/main" id="{CDE06EF5-2BD1-7DA0-33C1-2D566C2B2355}"/>
              </a:ext>
            </a:extLst>
          </p:cNvPr>
          <p:cNvSpPr txBox="1">
            <a:spLocks/>
          </p:cNvSpPr>
          <p:nvPr/>
        </p:nvSpPr>
        <p:spPr>
          <a:xfrm>
            <a:off x="8376218" y="1269542"/>
            <a:ext cx="2011254" cy="935780"/>
          </a:xfrm>
          <a:prstGeom prst="roundRect">
            <a:avLst/>
          </a:prstGeom>
          <a:solidFill>
            <a:srgbClr val="23A1AA"/>
          </a:solidFill>
          <a:ln>
            <a:solidFill>
              <a:schemeClr val="tx2">
                <a:lumMod val="75000"/>
              </a:schemeClr>
            </a:solidFill>
          </a:ln>
        </p:spPr>
        <p:txBody>
          <a:bodyPr vert="horz" lIns="243744" tIns="121869" rIns="243744" bIns="121869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fr-FR" sz="1200" b="1" dirty="0">
                <a:latin typeface="Arial" panose="020B0604020202020204" pitchFamily="34" charset="0"/>
                <a:cs typeface="Arial" panose="020B0604020202020204" pitchFamily="34" charset="0"/>
              </a:rPr>
              <a:t>MAÎTRE DE CONFERENCES</a:t>
            </a:r>
          </a:p>
        </p:txBody>
      </p:sp>
      <p:cxnSp>
        <p:nvCxnSpPr>
          <p:cNvPr id="111" name="Connecteur droit 126">
            <a:extLst>
              <a:ext uri="{FF2B5EF4-FFF2-40B4-BE49-F238E27FC236}">
                <a16:creationId xmlns:a16="http://schemas.microsoft.com/office/drawing/2014/main" id="{90BB3DE9-662C-6E7D-E0BC-E034257C686D}"/>
              </a:ext>
            </a:extLst>
          </p:cNvPr>
          <p:cNvCxnSpPr>
            <a:cxnSpLocks/>
            <a:stCxn id="95" idx="0"/>
            <a:endCxn id="110" idx="2"/>
          </p:cNvCxnSpPr>
          <p:nvPr/>
        </p:nvCxnSpPr>
        <p:spPr>
          <a:xfrm flipH="1" flipV="1">
            <a:off x="9381845" y="2205322"/>
            <a:ext cx="3878" cy="809070"/>
          </a:xfrm>
          <a:prstGeom prst="line">
            <a:avLst/>
          </a:prstGeom>
          <a:ln w="1270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2" name="Image 129">
            <a:extLst>
              <a:ext uri="{FF2B5EF4-FFF2-40B4-BE49-F238E27FC236}">
                <a16:creationId xmlns:a16="http://schemas.microsoft.com/office/drawing/2014/main" id="{B3976133-2AA2-CE8E-EB28-0C48F5C0A84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675" b="-2195"/>
          <a:stretch/>
        </p:blipFill>
        <p:spPr>
          <a:xfrm>
            <a:off x="9080663" y="2569287"/>
            <a:ext cx="444881" cy="464329"/>
          </a:xfrm>
          <a:prstGeom prst="rect">
            <a:avLst/>
          </a:prstGeom>
        </p:spPr>
      </p:pic>
      <p:pic>
        <p:nvPicPr>
          <p:cNvPr id="113" name="Picture 2" descr="UNIVERSITY OF ANTANANARIVO">
            <a:extLst>
              <a:ext uri="{FF2B5EF4-FFF2-40B4-BE49-F238E27FC236}">
                <a16:creationId xmlns:a16="http://schemas.microsoft.com/office/drawing/2014/main" id="{C144933E-D7E5-3B10-E6B1-F9878839CC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4752" y="4447508"/>
            <a:ext cx="574137" cy="67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" name="Image 134">
            <a:extLst>
              <a:ext uri="{FF2B5EF4-FFF2-40B4-BE49-F238E27FC236}">
                <a16:creationId xmlns:a16="http://schemas.microsoft.com/office/drawing/2014/main" id="{489AF41D-3F18-B7EE-7270-71969D7FE40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352577" y="4568889"/>
            <a:ext cx="552606" cy="552606"/>
          </a:xfrm>
          <a:prstGeom prst="rect">
            <a:avLst/>
          </a:prstGeom>
        </p:spPr>
      </p:pic>
      <p:pic>
        <p:nvPicPr>
          <p:cNvPr id="115" name="Image 135">
            <a:extLst>
              <a:ext uri="{FF2B5EF4-FFF2-40B4-BE49-F238E27FC236}">
                <a16:creationId xmlns:a16="http://schemas.microsoft.com/office/drawing/2014/main" id="{485300D8-42CE-2B65-5275-C68C4E00B24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01545" y="4579771"/>
            <a:ext cx="540406" cy="530841"/>
          </a:xfrm>
          <a:prstGeom prst="rect">
            <a:avLst/>
          </a:prstGeom>
        </p:spPr>
      </p:pic>
      <p:sp>
        <p:nvSpPr>
          <p:cNvPr id="116" name="Accolade ouvrante 136">
            <a:extLst>
              <a:ext uri="{FF2B5EF4-FFF2-40B4-BE49-F238E27FC236}">
                <a16:creationId xmlns:a16="http://schemas.microsoft.com/office/drawing/2014/main" id="{B28C6438-9868-A65E-FC3A-A11E236B8ADA}"/>
              </a:ext>
            </a:extLst>
          </p:cNvPr>
          <p:cNvSpPr/>
          <p:nvPr/>
        </p:nvSpPr>
        <p:spPr>
          <a:xfrm rot="16200000">
            <a:off x="10604523" y="2790724"/>
            <a:ext cx="362633" cy="2857683"/>
          </a:xfrm>
          <a:prstGeom prst="leftBrace">
            <a:avLst>
              <a:gd name="adj1" fmla="val 35430"/>
              <a:gd name="adj2" fmla="val 50000"/>
            </a:avLst>
          </a:prstGeom>
          <a:ln w="12700">
            <a:solidFill>
              <a:srgbClr val="76717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7" name="Image 138">
            <a:extLst>
              <a:ext uri="{FF2B5EF4-FFF2-40B4-BE49-F238E27FC236}">
                <a16:creationId xmlns:a16="http://schemas.microsoft.com/office/drawing/2014/main" id="{01A8B01B-6158-4AD2-124A-BE5DFE6D8D6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1554" b="4904"/>
          <a:stretch/>
        </p:blipFill>
        <p:spPr>
          <a:xfrm>
            <a:off x="10540517" y="4423435"/>
            <a:ext cx="446773" cy="432076"/>
          </a:xfrm>
          <a:prstGeom prst="rect">
            <a:avLst/>
          </a:prstGeom>
        </p:spPr>
      </p:pic>
      <p:sp>
        <p:nvSpPr>
          <p:cNvPr id="118" name="Subtitle 2">
            <a:extLst>
              <a:ext uri="{FF2B5EF4-FFF2-40B4-BE49-F238E27FC236}">
                <a16:creationId xmlns:a16="http://schemas.microsoft.com/office/drawing/2014/main" id="{173959F4-09CA-3736-77F0-0B448ED85D0D}"/>
              </a:ext>
            </a:extLst>
          </p:cNvPr>
          <p:cNvSpPr txBox="1">
            <a:spLocks/>
          </p:cNvSpPr>
          <p:nvPr/>
        </p:nvSpPr>
        <p:spPr>
          <a:xfrm>
            <a:off x="9478049" y="4893661"/>
            <a:ext cx="2504116" cy="722451"/>
          </a:xfrm>
          <a:prstGeom prst="bracketPair">
            <a:avLst/>
          </a:prstGeom>
          <a:ln>
            <a:solidFill>
              <a:schemeClr val="tx2">
                <a:lumMod val="75000"/>
              </a:schemeClr>
            </a:solidFill>
          </a:ln>
        </p:spPr>
        <p:txBody>
          <a:bodyPr vert="horz" lIns="243744" tIns="121869" rIns="243744" bIns="121869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r>
              <a:rPr lang="fr-FR" sz="1200" dirty="0">
                <a:latin typeface="Arial" panose="020B0604020202020204" pitchFamily="34" charset="0"/>
                <a:cs typeface="Arial" panose="020B0604020202020204" pitchFamily="34" charset="0"/>
              </a:rPr>
              <a:t>ENSEIGNANT-CHERCHEUR</a:t>
            </a:r>
          </a:p>
          <a:p>
            <a:pPr marL="0" indent="0" algn="ctr">
              <a:spcBef>
                <a:spcPts val="0"/>
              </a:spcBef>
              <a:buNone/>
            </a:pPr>
            <a:r>
              <a:rPr lang="fr-FR" sz="1200" dirty="0">
                <a:latin typeface="Arial" panose="020B0604020202020204" pitchFamily="34" charset="0"/>
                <a:cs typeface="Arial" panose="020B0604020202020204" pitchFamily="34" charset="0"/>
              </a:rPr>
              <a:t>LABORATOIRE PIMENT - UR</a:t>
            </a:r>
          </a:p>
        </p:txBody>
      </p:sp>
      <p:grpSp>
        <p:nvGrpSpPr>
          <p:cNvPr id="119" name="Groupe 143">
            <a:extLst>
              <a:ext uri="{FF2B5EF4-FFF2-40B4-BE49-F238E27FC236}">
                <a16:creationId xmlns:a16="http://schemas.microsoft.com/office/drawing/2014/main" id="{1D2BCD43-B9A9-8B62-994D-DDCD7BA13C33}"/>
              </a:ext>
            </a:extLst>
          </p:cNvPr>
          <p:cNvGrpSpPr/>
          <p:nvPr/>
        </p:nvGrpSpPr>
        <p:grpSpPr>
          <a:xfrm>
            <a:off x="932338" y="1244829"/>
            <a:ext cx="1777540" cy="2654100"/>
            <a:chOff x="4529838" y="1487826"/>
            <a:chExt cx="1777540" cy="2654100"/>
          </a:xfrm>
        </p:grpSpPr>
        <p:grpSp>
          <p:nvGrpSpPr>
            <p:cNvPr id="120" name="Groupe 144">
              <a:extLst>
                <a:ext uri="{FF2B5EF4-FFF2-40B4-BE49-F238E27FC236}">
                  <a16:creationId xmlns:a16="http://schemas.microsoft.com/office/drawing/2014/main" id="{2CF7DC5D-044C-CE71-F514-5A274AFD304B}"/>
                </a:ext>
              </a:extLst>
            </p:cNvPr>
            <p:cNvGrpSpPr/>
            <p:nvPr/>
          </p:nvGrpSpPr>
          <p:grpSpPr>
            <a:xfrm>
              <a:off x="4529838" y="1487826"/>
              <a:ext cx="1777540" cy="2654100"/>
              <a:chOff x="5082674" y="1036440"/>
              <a:chExt cx="1777540" cy="2654100"/>
            </a:xfrm>
          </p:grpSpPr>
          <p:sp>
            <p:nvSpPr>
              <p:cNvPr id="122" name="Subtitle 2">
                <a:extLst>
                  <a:ext uri="{FF2B5EF4-FFF2-40B4-BE49-F238E27FC236}">
                    <a16:creationId xmlns:a16="http://schemas.microsoft.com/office/drawing/2014/main" id="{2228658A-C803-8F53-A396-E6E103EEDCE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082674" y="1036440"/>
                <a:ext cx="1777540" cy="964411"/>
              </a:xfrm>
              <a:prstGeom prst="roundRect">
                <a:avLst/>
              </a:prstGeom>
              <a:solidFill>
                <a:srgbClr val="D6FF7E"/>
              </a:solidFill>
              <a:ln>
                <a:solidFill>
                  <a:schemeClr val="tx2">
                    <a:lumMod val="75000"/>
                  </a:schemeClr>
                </a:solidFill>
              </a:ln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spcBef>
                    <a:spcPts val="0"/>
                  </a:spcBef>
                  <a:buNone/>
                </a:pPr>
                <a:r>
                  <a:rPr lang="fr-FR" sz="1400" b="1" dirty="0">
                    <a:latin typeface="Arial" panose="020B0604020202020204" pitchFamily="34" charset="0"/>
                    <a:cs typeface="Arial" panose="020B0604020202020204" pitchFamily="34" charset="0"/>
                  </a:rPr>
                  <a:t>INGENIEUR</a:t>
                </a:r>
              </a:p>
              <a:p>
                <a:pPr marL="0" indent="0" algn="ctr">
                  <a:spcBef>
                    <a:spcPts val="0"/>
                  </a:spcBef>
                  <a:buNone/>
                </a:pPr>
                <a:r>
                  <a:rPr lang="fr-FR" sz="1200" dirty="0">
                    <a:latin typeface="Arial" panose="020B0604020202020204" pitchFamily="34" charset="0"/>
                    <a:cs typeface="Arial" panose="020B0604020202020204" pitchFamily="34" charset="0"/>
                  </a:rPr>
                  <a:t>Génie Civil</a:t>
                </a:r>
                <a:endParaRPr lang="fr-FR" sz="1400" dirty="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Oval 15">
                <a:extLst>
                  <a:ext uri="{FF2B5EF4-FFF2-40B4-BE49-F238E27FC236}">
                    <a16:creationId xmlns:a16="http://schemas.microsoft.com/office/drawing/2014/main" id="{21002986-DE5C-E092-755D-F873ED404DB0}"/>
                  </a:ext>
                </a:extLst>
              </p:cNvPr>
              <p:cNvSpPr/>
              <p:nvPr/>
            </p:nvSpPr>
            <p:spPr>
              <a:xfrm>
                <a:off x="5847631" y="3366540"/>
                <a:ext cx="324000" cy="324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4572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4" name="Subtitle 2">
                <a:extLst>
                  <a:ext uri="{FF2B5EF4-FFF2-40B4-BE49-F238E27FC236}">
                    <a16:creationId xmlns:a16="http://schemas.microsoft.com/office/drawing/2014/main" id="{A84BB971-9856-AB82-6E67-E0263617D2F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469437" y="2824530"/>
                <a:ext cx="1061617" cy="412031"/>
              </a:xfrm>
              <a:prstGeom prst="rect">
                <a:avLst/>
              </a:prstGeom>
            </p:spPr>
            <p:txBody>
              <a:bodyPr vert="horz" lIns="243744" tIns="121869" rIns="243744" bIns="121869" rtlCol="0" anchor="ctr">
                <a:noAutofit/>
              </a:bodyPr>
              <a:lstStyle>
                <a:lvl1pPr marL="342900" indent="-3429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32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742950" indent="-28575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–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»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457200" rtl="0" eaLnBrk="1" latinLnBrk="0" hangingPunct="1">
                  <a:spcBef>
                    <a:spcPct val="20000"/>
                  </a:spcBef>
                  <a:buFont typeface="Arial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/>
                  <a:buNone/>
                </a:pPr>
                <a:r>
                  <a:rPr lang="en-US" sz="1600" b="1" dirty="0">
                    <a:solidFill>
                      <a:srgbClr val="06065D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2012</a:t>
                </a:r>
                <a:endParaRPr lang="en-US" sz="1400" b="1" dirty="0">
                  <a:solidFill>
                    <a:srgbClr val="06065D"/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21" name="Connecteur droit 148">
              <a:extLst>
                <a:ext uri="{FF2B5EF4-FFF2-40B4-BE49-F238E27FC236}">
                  <a16:creationId xmlns:a16="http://schemas.microsoft.com/office/drawing/2014/main" id="{B930867D-5144-547F-FF58-A32B88616D01}"/>
                </a:ext>
              </a:extLst>
            </p:cNvPr>
            <p:cNvCxnSpPr>
              <a:cxnSpLocks/>
              <a:endCxn id="122" idx="2"/>
            </p:cNvCxnSpPr>
            <p:nvPr/>
          </p:nvCxnSpPr>
          <p:spPr>
            <a:xfrm flipV="1">
              <a:off x="5416454" y="2452237"/>
              <a:ext cx="2154" cy="437776"/>
            </a:xfrm>
            <a:prstGeom prst="line">
              <a:avLst/>
            </a:prstGeom>
            <a:ln w="12700">
              <a:solidFill>
                <a:srgbClr val="76717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25" name="Image 158">
            <a:extLst>
              <a:ext uri="{FF2B5EF4-FFF2-40B4-BE49-F238E27FC236}">
                <a16:creationId xmlns:a16="http://schemas.microsoft.com/office/drawing/2014/main" id="{F94D893E-F12D-4992-068A-B89A51C6A101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557" t="382" r="33748" b="5065"/>
          <a:stretch/>
        </p:blipFill>
        <p:spPr>
          <a:xfrm>
            <a:off x="1615419" y="2646258"/>
            <a:ext cx="381164" cy="434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98052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 txBox="1">
            <a:spLocks/>
          </p:cNvSpPr>
          <p:nvPr/>
        </p:nvSpPr>
        <p:spPr>
          <a:xfrm>
            <a:off x="383458" y="226046"/>
            <a:ext cx="9939862" cy="88707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bilités scientifiques, sources de collaboration 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1016951" y="1310784"/>
            <a:ext cx="9850638" cy="5131044"/>
            <a:chOff x="814675" y="1000322"/>
            <a:chExt cx="10255189" cy="5341769"/>
          </a:xfrm>
        </p:grpSpPr>
        <p:pic>
          <p:nvPicPr>
            <p:cNvPr id="35" name="Image 153">
              <a:extLst>
                <a:ext uri="{FF2B5EF4-FFF2-40B4-BE49-F238E27FC236}">
                  <a16:creationId xmlns:a16="http://schemas.microsoft.com/office/drawing/2014/main" id="{B99EE82A-91C8-A1C3-78F9-AD0C1682BA6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675" y="1000322"/>
              <a:ext cx="10255189" cy="5341769"/>
            </a:xfrm>
            <a:prstGeom prst="rect">
              <a:avLst/>
            </a:prstGeom>
            <a:solidFill>
              <a:srgbClr val="008000"/>
            </a:solidFill>
            <a:ln>
              <a:noFill/>
            </a:ln>
          </p:spPr>
        </p:pic>
        <p:grpSp>
          <p:nvGrpSpPr>
            <p:cNvPr id="42" name="Groupe 184">
              <a:extLst>
                <a:ext uri="{FF2B5EF4-FFF2-40B4-BE49-F238E27FC236}">
                  <a16:creationId xmlns:a16="http://schemas.microsoft.com/office/drawing/2014/main" id="{3FDB55EB-1FAB-8A87-DB69-6A3A12BEFC45}"/>
                </a:ext>
              </a:extLst>
            </p:cNvPr>
            <p:cNvGrpSpPr/>
            <p:nvPr/>
          </p:nvGrpSpPr>
          <p:grpSpPr>
            <a:xfrm>
              <a:off x="6725883" y="4680214"/>
              <a:ext cx="1950008" cy="1382848"/>
              <a:chOff x="5579254" y="4578614"/>
              <a:chExt cx="1950008" cy="1382848"/>
            </a:xfrm>
          </p:grpSpPr>
          <p:pic>
            <p:nvPicPr>
              <p:cNvPr id="43" name="Grafik 27">
                <a:extLst>
                  <a:ext uri="{FF2B5EF4-FFF2-40B4-BE49-F238E27FC236}">
                    <a16:creationId xmlns:a16="http://schemas.microsoft.com/office/drawing/2014/main" id="{29A67E0F-6599-62C9-9FB4-3054E4A0ABB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rcRect r="69326" b="-207"/>
              <a:stretch/>
            </p:blipFill>
            <p:spPr>
              <a:xfrm>
                <a:off x="6543728" y="5567052"/>
                <a:ext cx="504556" cy="365124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4" name="Image 151">
                <a:extLst>
                  <a:ext uri="{FF2B5EF4-FFF2-40B4-BE49-F238E27FC236}">
                    <a16:creationId xmlns:a16="http://schemas.microsoft.com/office/drawing/2014/main" id="{782A30C8-A72E-F9AD-298C-DB331E9CDD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20631" y="5583086"/>
                <a:ext cx="362004" cy="365125"/>
              </a:xfrm>
              <a:prstGeom prst="rect">
                <a:avLst/>
              </a:prstGeom>
              <a:ln>
                <a:noFill/>
              </a:ln>
            </p:spPr>
          </p:pic>
          <p:grpSp>
            <p:nvGrpSpPr>
              <p:cNvPr id="45" name="Groupe 162">
                <a:extLst>
                  <a:ext uri="{FF2B5EF4-FFF2-40B4-BE49-F238E27FC236}">
                    <a16:creationId xmlns:a16="http://schemas.microsoft.com/office/drawing/2014/main" id="{B2536CA7-18A9-4016-1DFB-1C35AFD16122}"/>
                  </a:ext>
                </a:extLst>
              </p:cNvPr>
              <p:cNvGrpSpPr/>
              <p:nvPr/>
            </p:nvGrpSpPr>
            <p:grpSpPr>
              <a:xfrm>
                <a:off x="5658833" y="4578614"/>
                <a:ext cx="876011" cy="883429"/>
                <a:chOff x="11602856" y="2826831"/>
                <a:chExt cx="2373919" cy="2394022"/>
              </a:xfrm>
              <a:solidFill>
                <a:srgbClr val="FF0000"/>
              </a:solidFill>
            </p:grpSpPr>
            <p:sp>
              <p:nvSpPr>
                <p:cNvPr id="49" name="Ellipse 163">
                  <a:extLst>
                    <a:ext uri="{FF2B5EF4-FFF2-40B4-BE49-F238E27FC236}">
                      <a16:creationId xmlns:a16="http://schemas.microsoft.com/office/drawing/2014/main" id="{ACBD079F-DD18-FE2B-1D8B-B75B23DC5CDE}"/>
                    </a:ext>
                  </a:extLst>
                </p:cNvPr>
                <p:cNvSpPr/>
                <p:nvPr/>
              </p:nvSpPr>
              <p:spPr>
                <a:xfrm>
                  <a:off x="12690922" y="3910169"/>
                  <a:ext cx="197792" cy="197792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/>
                </a:p>
              </p:txBody>
            </p:sp>
            <p:sp>
              <p:nvSpPr>
                <p:cNvPr id="50" name="Cercle : creux 36">
                  <a:extLst>
                    <a:ext uri="{FF2B5EF4-FFF2-40B4-BE49-F238E27FC236}">
                      <a16:creationId xmlns:a16="http://schemas.microsoft.com/office/drawing/2014/main" id="{25CFD162-6E7E-9BC0-E1B9-54B3B5A43FF8}"/>
                    </a:ext>
                  </a:extLst>
                </p:cNvPr>
                <p:cNvSpPr/>
                <p:nvPr/>
              </p:nvSpPr>
              <p:spPr>
                <a:xfrm>
                  <a:off x="12483610" y="3702857"/>
                  <a:ext cx="612914" cy="612914"/>
                </a:xfrm>
                <a:prstGeom prst="donut">
                  <a:avLst>
                    <a:gd name="adj" fmla="val 10669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" name="Cercle : creux 37">
                  <a:extLst>
                    <a:ext uri="{FF2B5EF4-FFF2-40B4-BE49-F238E27FC236}">
                      <a16:creationId xmlns:a16="http://schemas.microsoft.com/office/drawing/2014/main" id="{5CC1D976-3CEC-69E2-35DE-1F5AF3ACC72C}"/>
                    </a:ext>
                  </a:extLst>
                </p:cNvPr>
                <p:cNvSpPr/>
                <p:nvPr/>
              </p:nvSpPr>
              <p:spPr>
                <a:xfrm>
                  <a:off x="12325829" y="3545076"/>
                  <a:ext cx="927975" cy="927975"/>
                </a:xfrm>
                <a:prstGeom prst="donut">
                  <a:avLst>
                    <a:gd name="adj" fmla="val 2053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" name="Cercle : creux 38">
                  <a:extLst>
                    <a:ext uri="{FF2B5EF4-FFF2-40B4-BE49-F238E27FC236}">
                      <a16:creationId xmlns:a16="http://schemas.microsoft.com/office/drawing/2014/main" id="{3556CD5F-566C-B0E2-8AF8-1E9801F61BAF}"/>
                    </a:ext>
                  </a:extLst>
                </p:cNvPr>
                <p:cNvSpPr/>
                <p:nvPr/>
              </p:nvSpPr>
              <p:spPr>
                <a:xfrm>
                  <a:off x="12199969" y="3429000"/>
                  <a:ext cx="1179695" cy="1189685"/>
                </a:xfrm>
                <a:prstGeom prst="donut">
                  <a:avLst>
                    <a:gd name="adj" fmla="val 813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3" name="Cercle : creux 39">
                  <a:extLst>
                    <a:ext uri="{FF2B5EF4-FFF2-40B4-BE49-F238E27FC236}">
                      <a16:creationId xmlns:a16="http://schemas.microsoft.com/office/drawing/2014/main" id="{32275B94-B229-9426-7959-A9A176D7FD65}"/>
                    </a:ext>
                  </a:extLst>
                </p:cNvPr>
                <p:cNvSpPr/>
                <p:nvPr/>
              </p:nvSpPr>
              <p:spPr>
                <a:xfrm>
                  <a:off x="11912600" y="3124383"/>
                  <a:ext cx="1764318" cy="1779259"/>
                </a:xfrm>
                <a:prstGeom prst="donut">
                  <a:avLst>
                    <a:gd name="adj" fmla="val 337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4" name="Cercle : creux 13">
                  <a:extLst>
                    <a:ext uri="{FF2B5EF4-FFF2-40B4-BE49-F238E27FC236}">
                      <a16:creationId xmlns:a16="http://schemas.microsoft.com/office/drawing/2014/main" id="{216C2F25-2DBF-6E80-1227-203158DD7E77}"/>
                    </a:ext>
                  </a:extLst>
                </p:cNvPr>
                <p:cNvSpPr/>
                <p:nvPr/>
              </p:nvSpPr>
              <p:spPr>
                <a:xfrm>
                  <a:off x="11602856" y="2826831"/>
                  <a:ext cx="2373919" cy="2394022"/>
                </a:xfrm>
                <a:prstGeom prst="donut">
                  <a:avLst>
                    <a:gd name="adj" fmla="val 337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chemeClr val="tx1"/>
                    </a:solidFill>
                  </a:endParaRPr>
                </a:p>
              </p:txBody>
            </p:sp>
          </p:grpSp>
          <p:sp>
            <p:nvSpPr>
              <p:cNvPr id="46" name="Subtitle 2">
                <a:extLst>
                  <a:ext uri="{FF2B5EF4-FFF2-40B4-BE49-F238E27FC236}">
                    <a16:creationId xmlns:a16="http://schemas.microsoft.com/office/drawing/2014/main" id="{79857AF7-798D-EA81-3FE8-32CE790D3D7E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579254" y="5538545"/>
                <a:ext cx="1108158" cy="422917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243744" tIns="121869" rIns="243744" bIns="121869" rtlCol="0" anchor="ctr">
                <a:noAutofit/>
              </a:bodyPr>
              <a:lstStyle>
                <a:defPPr>
                  <a:defRPr lang="fr-FR"/>
                </a:defPPr>
                <a:lvl1pPr indent="0" algn="ctr" defTabSz="457200">
                  <a:spcBef>
                    <a:spcPct val="20000"/>
                  </a:spcBef>
                  <a:buFont typeface="Arial"/>
                  <a:buNone/>
                  <a:defRPr b="1">
                    <a:solidFill>
                      <a:schemeClr val="tx2">
                        <a:lumMod val="75000"/>
                      </a:schemeClr>
                    </a:solidFill>
                    <a:latin typeface="Raleway Medium"/>
                    <a:cs typeface="Lato Regular"/>
                  </a:defRPr>
                </a:lvl1pPr>
                <a:lvl2pPr marL="742950" indent="-285750" defTabSz="457200">
                  <a:spcBef>
                    <a:spcPct val="20000"/>
                  </a:spcBef>
                  <a:buFont typeface="Arial"/>
                  <a:buChar char="–"/>
                  <a:defRPr sz="2800"/>
                </a:lvl2pPr>
                <a:lvl3pPr marL="1143000" indent="-228600" defTabSz="457200">
                  <a:spcBef>
                    <a:spcPct val="20000"/>
                  </a:spcBef>
                  <a:buFont typeface="Arial"/>
                  <a:buChar char="•"/>
                  <a:defRPr sz="2400"/>
                </a:lvl3pPr>
                <a:lvl4pPr marL="1600200" indent="-228600" defTabSz="457200">
                  <a:spcBef>
                    <a:spcPct val="20000"/>
                  </a:spcBef>
                  <a:buFont typeface="Arial"/>
                  <a:buChar char="–"/>
                  <a:defRPr sz="2000"/>
                </a:lvl4pPr>
                <a:lvl5pPr marL="2057400" indent="-228600" defTabSz="457200">
                  <a:spcBef>
                    <a:spcPct val="20000"/>
                  </a:spcBef>
                  <a:buFont typeface="Arial"/>
                  <a:buChar char="»"/>
                  <a:defRPr sz="2000"/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9pPr>
              </a:lstStyle>
              <a:p>
                <a:r>
                  <a:rPr lang="en-US" sz="1400" b="0" dirty="0">
                    <a:solidFill>
                      <a:srgbClr val="23A1AA"/>
                    </a:solidFill>
                    <a:latin typeface="Arial Rounded MT Bold" panose="020F0704030504030204" pitchFamily="34" charset="77"/>
                  </a:rPr>
                  <a:t>2015</a:t>
                </a:r>
              </a:p>
              <a:p>
                <a:r>
                  <a:rPr lang="en-US" sz="1400" b="0" dirty="0">
                    <a:solidFill>
                      <a:srgbClr val="23A1AA"/>
                    </a:solidFill>
                    <a:latin typeface="Arial Rounded MT Bold" panose="020F0704030504030204" pitchFamily="34" charset="77"/>
                  </a:rPr>
                  <a:t>2016</a:t>
                </a:r>
              </a:p>
            </p:txBody>
          </p:sp>
          <p:pic>
            <p:nvPicPr>
              <p:cNvPr id="47" name="Image 180">
                <a:extLst>
                  <a:ext uri="{FF2B5EF4-FFF2-40B4-BE49-F238E27FC236}">
                    <a16:creationId xmlns:a16="http://schemas.microsoft.com/office/drawing/2014/main" id="{50FA12AF-8CF0-99F0-4965-6D7FD0B78D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120631" y="5163706"/>
                <a:ext cx="408631" cy="288965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48" name="Image 181">
                <a:extLst>
                  <a:ext uri="{FF2B5EF4-FFF2-40B4-BE49-F238E27FC236}">
                    <a16:creationId xmlns:a16="http://schemas.microsoft.com/office/drawing/2014/main" id="{D4078677-0C75-BD63-4B6C-45E56B8148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649105" y="5146591"/>
                <a:ext cx="463680" cy="347760"/>
              </a:xfrm>
              <a:prstGeom prst="rect">
                <a:avLst/>
              </a:prstGeom>
              <a:ln>
                <a:noFill/>
              </a:ln>
            </p:spPr>
          </p:pic>
        </p:grpSp>
        <p:grpSp>
          <p:nvGrpSpPr>
            <p:cNvPr id="55" name="Groupe 183">
              <a:extLst>
                <a:ext uri="{FF2B5EF4-FFF2-40B4-BE49-F238E27FC236}">
                  <a16:creationId xmlns:a16="http://schemas.microsoft.com/office/drawing/2014/main" id="{3ADA74DC-DCAD-14D9-56F7-1F534A6528B2}"/>
                </a:ext>
              </a:extLst>
            </p:cNvPr>
            <p:cNvGrpSpPr/>
            <p:nvPr/>
          </p:nvGrpSpPr>
          <p:grpSpPr>
            <a:xfrm>
              <a:off x="4184778" y="2542344"/>
              <a:ext cx="1911222" cy="1384172"/>
              <a:chOff x="3222547" y="2743215"/>
              <a:chExt cx="1911222" cy="1384172"/>
            </a:xfrm>
          </p:grpSpPr>
          <p:grpSp>
            <p:nvGrpSpPr>
              <p:cNvPr id="56" name="Groupe 169">
                <a:extLst>
                  <a:ext uri="{FF2B5EF4-FFF2-40B4-BE49-F238E27FC236}">
                    <a16:creationId xmlns:a16="http://schemas.microsoft.com/office/drawing/2014/main" id="{DB2733DD-769E-6A9C-4E18-CB9A5928CFBC}"/>
                  </a:ext>
                </a:extLst>
              </p:cNvPr>
              <p:cNvGrpSpPr/>
              <p:nvPr/>
            </p:nvGrpSpPr>
            <p:grpSpPr>
              <a:xfrm>
                <a:off x="4257758" y="2743215"/>
                <a:ext cx="876011" cy="883429"/>
                <a:chOff x="11602856" y="2826831"/>
                <a:chExt cx="2373919" cy="2394022"/>
              </a:xfrm>
              <a:solidFill>
                <a:srgbClr val="FF0000"/>
              </a:solidFill>
            </p:grpSpPr>
            <p:sp>
              <p:nvSpPr>
                <p:cNvPr id="60" name="Ellipse 170">
                  <a:extLst>
                    <a:ext uri="{FF2B5EF4-FFF2-40B4-BE49-F238E27FC236}">
                      <a16:creationId xmlns:a16="http://schemas.microsoft.com/office/drawing/2014/main" id="{41F0730E-27A8-5623-98E6-B1DEB717D667}"/>
                    </a:ext>
                  </a:extLst>
                </p:cNvPr>
                <p:cNvSpPr/>
                <p:nvPr/>
              </p:nvSpPr>
              <p:spPr>
                <a:xfrm>
                  <a:off x="12690922" y="3910169"/>
                  <a:ext cx="197792" cy="197792"/>
                </a:xfrm>
                <a:prstGeom prst="ellipse">
                  <a:avLst/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61" name="Cercle : creux 36">
                  <a:extLst>
                    <a:ext uri="{FF2B5EF4-FFF2-40B4-BE49-F238E27FC236}">
                      <a16:creationId xmlns:a16="http://schemas.microsoft.com/office/drawing/2014/main" id="{5D93185D-C374-139D-D957-E2696B1FEBF6}"/>
                    </a:ext>
                  </a:extLst>
                </p:cNvPr>
                <p:cNvSpPr/>
                <p:nvPr/>
              </p:nvSpPr>
              <p:spPr>
                <a:xfrm>
                  <a:off x="12483610" y="3702857"/>
                  <a:ext cx="612914" cy="612914"/>
                </a:xfrm>
                <a:prstGeom prst="donut">
                  <a:avLst>
                    <a:gd name="adj" fmla="val 10669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62" name="Cercle : creux 37">
                  <a:extLst>
                    <a:ext uri="{FF2B5EF4-FFF2-40B4-BE49-F238E27FC236}">
                      <a16:creationId xmlns:a16="http://schemas.microsoft.com/office/drawing/2014/main" id="{DF16ED2C-74B7-BC7A-9A9D-D48FF7130143}"/>
                    </a:ext>
                  </a:extLst>
                </p:cNvPr>
                <p:cNvSpPr/>
                <p:nvPr/>
              </p:nvSpPr>
              <p:spPr>
                <a:xfrm>
                  <a:off x="12325829" y="3545076"/>
                  <a:ext cx="927975" cy="927975"/>
                </a:xfrm>
                <a:prstGeom prst="donut">
                  <a:avLst>
                    <a:gd name="adj" fmla="val 2053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63" name="Cercle : creux 38">
                  <a:extLst>
                    <a:ext uri="{FF2B5EF4-FFF2-40B4-BE49-F238E27FC236}">
                      <a16:creationId xmlns:a16="http://schemas.microsoft.com/office/drawing/2014/main" id="{C4BE24C5-775D-6404-5210-C850B36F0190}"/>
                    </a:ext>
                  </a:extLst>
                </p:cNvPr>
                <p:cNvSpPr/>
                <p:nvPr/>
              </p:nvSpPr>
              <p:spPr>
                <a:xfrm>
                  <a:off x="12199969" y="3429000"/>
                  <a:ext cx="1179695" cy="1189685"/>
                </a:xfrm>
                <a:prstGeom prst="donut">
                  <a:avLst>
                    <a:gd name="adj" fmla="val 813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64" name="Cercle : creux 39">
                  <a:extLst>
                    <a:ext uri="{FF2B5EF4-FFF2-40B4-BE49-F238E27FC236}">
                      <a16:creationId xmlns:a16="http://schemas.microsoft.com/office/drawing/2014/main" id="{4B0CF555-239C-57D2-D01A-EC84F41369CB}"/>
                    </a:ext>
                  </a:extLst>
                </p:cNvPr>
                <p:cNvSpPr/>
                <p:nvPr/>
              </p:nvSpPr>
              <p:spPr>
                <a:xfrm>
                  <a:off x="11912600" y="3124383"/>
                  <a:ext cx="1764318" cy="1779259"/>
                </a:xfrm>
                <a:prstGeom prst="donut">
                  <a:avLst>
                    <a:gd name="adj" fmla="val 337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>
                    <a:solidFill>
                      <a:srgbClr val="FF0000"/>
                    </a:solidFill>
                  </a:endParaRPr>
                </a:p>
              </p:txBody>
            </p:sp>
            <p:sp>
              <p:nvSpPr>
                <p:cNvPr id="65" name="Cercle : creux 13">
                  <a:extLst>
                    <a:ext uri="{FF2B5EF4-FFF2-40B4-BE49-F238E27FC236}">
                      <a16:creationId xmlns:a16="http://schemas.microsoft.com/office/drawing/2014/main" id="{B645C58A-032E-F876-A014-9EDD324A7EC6}"/>
                    </a:ext>
                  </a:extLst>
                </p:cNvPr>
                <p:cNvSpPr/>
                <p:nvPr/>
              </p:nvSpPr>
              <p:spPr>
                <a:xfrm>
                  <a:off x="11602856" y="2826831"/>
                  <a:ext cx="2373919" cy="2394022"/>
                </a:xfrm>
                <a:prstGeom prst="donut">
                  <a:avLst>
                    <a:gd name="adj" fmla="val 337"/>
                  </a:avLst>
                </a:prstGeom>
                <a:solidFill>
                  <a:srgbClr val="008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fr-FR" dirty="0">
                    <a:solidFill>
                      <a:srgbClr val="FF0000"/>
                    </a:solidFill>
                  </a:endParaRPr>
                </a:p>
              </p:txBody>
            </p:sp>
          </p:grpSp>
          <p:sp>
            <p:nvSpPr>
              <p:cNvPr id="57" name="Subtitle 2">
                <a:extLst>
                  <a:ext uri="{FF2B5EF4-FFF2-40B4-BE49-F238E27FC236}">
                    <a16:creationId xmlns:a16="http://schemas.microsoft.com/office/drawing/2014/main" id="{7DAC9A1D-ABB8-4699-4411-B79D3AE35C4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53400" y="2928442"/>
                <a:ext cx="972214" cy="422917"/>
              </a:xfrm>
              <a:prstGeom prst="rect">
                <a:avLst/>
              </a:prstGeom>
              <a:ln>
                <a:noFill/>
              </a:ln>
            </p:spPr>
            <p:txBody>
              <a:bodyPr vert="horz" lIns="243744" tIns="121869" rIns="243744" bIns="121869" rtlCol="0" anchor="ctr">
                <a:noAutofit/>
              </a:bodyPr>
              <a:lstStyle>
                <a:defPPr>
                  <a:defRPr lang="fr-FR"/>
                </a:defPPr>
                <a:lvl1pPr indent="0" algn="ctr" defTabSz="457200">
                  <a:spcBef>
                    <a:spcPct val="20000"/>
                  </a:spcBef>
                  <a:buFont typeface="Arial"/>
                  <a:buNone/>
                  <a:defRPr b="1">
                    <a:solidFill>
                      <a:schemeClr val="tx2">
                        <a:lumMod val="75000"/>
                      </a:schemeClr>
                    </a:solidFill>
                    <a:latin typeface="Raleway Medium"/>
                    <a:cs typeface="Lato Regular"/>
                  </a:defRPr>
                </a:lvl1pPr>
                <a:lvl2pPr marL="742950" indent="-285750" defTabSz="457200">
                  <a:spcBef>
                    <a:spcPct val="20000"/>
                  </a:spcBef>
                  <a:buFont typeface="Arial"/>
                  <a:buChar char="–"/>
                  <a:defRPr sz="2800"/>
                </a:lvl2pPr>
                <a:lvl3pPr marL="1143000" indent="-228600" defTabSz="457200">
                  <a:spcBef>
                    <a:spcPct val="20000"/>
                  </a:spcBef>
                  <a:buFont typeface="Arial"/>
                  <a:buChar char="•"/>
                  <a:defRPr sz="2400"/>
                </a:lvl3pPr>
                <a:lvl4pPr marL="1600200" indent="-228600" defTabSz="457200">
                  <a:spcBef>
                    <a:spcPct val="20000"/>
                  </a:spcBef>
                  <a:buFont typeface="Arial"/>
                  <a:buChar char="–"/>
                  <a:defRPr sz="2000"/>
                </a:lvl4pPr>
                <a:lvl5pPr marL="2057400" indent="-228600" defTabSz="457200">
                  <a:spcBef>
                    <a:spcPct val="20000"/>
                  </a:spcBef>
                  <a:buFont typeface="Arial"/>
                  <a:buChar char="»"/>
                  <a:defRPr sz="2000"/>
                </a:lvl5pPr>
                <a:lvl6pPr marL="25146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6pPr>
                <a:lvl7pPr marL="29718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7pPr>
                <a:lvl8pPr marL="34290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8pPr>
                <a:lvl9pPr marL="3886200" indent="-228600" defTabSz="457200">
                  <a:spcBef>
                    <a:spcPct val="20000"/>
                  </a:spcBef>
                  <a:buFont typeface="Arial"/>
                  <a:buChar char="•"/>
                  <a:defRPr sz="2000"/>
                </a:lvl9pPr>
              </a:lstStyle>
              <a:p>
                <a:r>
                  <a:rPr lang="en-US" sz="1400" b="0" dirty="0">
                    <a:solidFill>
                      <a:srgbClr val="23A1AA"/>
                    </a:solidFill>
                    <a:latin typeface="Arial Rounded MT Bold" panose="020F0704030504030204" pitchFamily="34" charset="77"/>
                  </a:rPr>
                  <a:t>2017</a:t>
                </a:r>
              </a:p>
            </p:txBody>
          </p:sp>
          <p:pic>
            <p:nvPicPr>
              <p:cNvPr id="58" name="Image 178">
                <a:extLst>
                  <a:ext uri="{FF2B5EF4-FFF2-40B4-BE49-F238E27FC236}">
                    <a16:creationId xmlns:a16="http://schemas.microsoft.com/office/drawing/2014/main" id="{CA60F235-B896-4D65-6B99-1826A440AEE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222547" y="3689381"/>
                <a:ext cx="876011" cy="438006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59" name="Image 182">
                <a:extLst>
                  <a:ext uri="{FF2B5EF4-FFF2-40B4-BE49-F238E27FC236}">
                    <a16:creationId xmlns:a16="http://schemas.microsoft.com/office/drawing/2014/main" id="{5D41A719-5D24-1A2B-555A-F036CC6921A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636838" y="3278884"/>
                <a:ext cx="463680" cy="347760"/>
              </a:xfrm>
              <a:prstGeom prst="rect">
                <a:avLst/>
              </a:prstGeom>
              <a:ln>
                <a:noFill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26467915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8"/>
          <p:cNvSpPr txBox="1">
            <a:spLocks/>
          </p:cNvSpPr>
          <p:nvPr/>
        </p:nvSpPr>
        <p:spPr>
          <a:xfrm>
            <a:off x="383458" y="226046"/>
            <a:ext cx="9939862" cy="88707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fr-FR" sz="3200" b="1" dirty="0">
                <a:solidFill>
                  <a:srgbClr val="008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 scientifique, la clé ! </a:t>
            </a:r>
          </a:p>
        </p:txBody>
      </p:sp>
      <p:grpSp>
        <p:nvGrpSpPr>
          <p:cNvPr id="20" name="Group 104">
            <a:extLst>
              <a:ext uri="{FF2B5EF4-FFF2-40B4-BE49-F238E27FC236}">
                <a16:creationId xmlns:a16="http://schemas.microsoft.com/office/drawing/2014/main" id="{A2AE99F6-FCAA-99B1-61A2-BCD43D6723BF}"/>
              </a:ext>
            </a:extLst>
          </p:cNvPr>
          <p:cNvGrpSpPr>
            <a:grpSpLocks/>
          </p:cNvGrpSpPr>
          <p:nvPr/>
        </p:nvGrpSpPr>
        <p:grpSpPr bwMode="auto">
          <a:xfrm>
            <a:off x="4095896" y="1369129"/>
            <a:ext cx="4000209" cy="4511308"/>
            <a:chOff x="1106" y="566"/>
            <a:chExt cx="2935" cy="3310"/>
          </a:xfrm>
        </p:grpSpPr>
        <p:sp>
          <p:nvSpPr>
            <p:cNvPr id="21" name="Freeform 16">
              <a:extLst>
                <a:ext uri="{FF2B5EF4-FFF2-40B4-BE49-F238E27FC236}">
                  <a16:creationId xmlns:a16="http://schemas.microsoft.com/office/drawing/2014/main" id="{2763F2BD-F6E1-0DC1-D49E-3A56DABED46C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1106" y="566"/>
              <a:ext cx="2935" cy="3310"/>
            </a:xfrm>
            <a:custGeom>
              <a:avLst/>
              <a:gdLst>
                <a:gd name="T0" fmla="*/ 769 w 2935"/>
                <a:gd name="T1" fmla="*/ 3253 h 3310"/>
                <a:gd name="T2" fmla="*/ 852 w 2935"/>
                <a:gd name="T3" fmla="*/ 2704 h 3310"/>
                <a:gd name="T4" fmla="*/ 757 w 2935"/>
                <a:gd name="T5" fmla="*/ 2485 h 3310"/>
                <a:gd name="T6" fmla="*/ 580 w 2935"/>
                <a:gd name="T7" fmla="*/ 2366 h 3310"/>
                <a:gd name="T8" fmla="*/ 263 w 2935"/>
                <a:gd name="T9" fmla="*/ 2248 h 3310"/>
                <a:gd name="T10" fmla="*/ 59 w 2935"/>
                <a:gd name="T11" fmla="*/ 2084 h 3310"/>
                <a:gd name="T12" fmla="*/ 4 w 2935"/>
                <a:gd name="T13" fmla="*/ 1848 h 3310"/>
                <a:gd name="T14" fmla="*/ 80 w 2935"/>
                <a:gd name="T15" fmla="*/ 1611 h 3310"/>
                <a:gd name="T16" fmla="*/ 389 w 2935"/>
                <a:gd name="T17" fmla="*/ 1160 h 3310"/>
                <a:gd name="T18" fmla="*/ 820 w 2935"/>
                <a:gd name="T19" fmla="*/ 936 h 3310"/>
                <a:gd name="T20" fmla="*/ 1466 w 2935"/>
                <a:gd name="T21" fmla="*/ 642 h 3310"/>
                <a:gd name="T22" fmla="*/ 1612 w 2935"/>
                <a:gd name="T23" fmla="*/ 434 h 3310"/>
                <a:gd name="T24" fmla="*/ 1315 w 2935"/>
                <a:gd name="T25" fmla="*/ 326 h 3310"/>
                <a:gd name="T26" fmla="*/ 580 w 2935"/>
                <a:gd name="T27" fmla="*/ 332 h 3310"/>
                <a:gd name="T28" fmla="*/ 392 w 2935"/>
                <a:gd name="T29" fmla="*/ 285 h 3310"/>
                <a:gd name="T30" fmla="*/ 129 w 2935"/>
                <a:gd name="T31" fmla="*/ 79 h 3310"/>
                <a:gd name="T32" fmla="*/ 143 w 2935"/>
                <a:gd name="T33" fmla="*/ 40 h 3310"/>
                <a:gd name="T34" fmla="*/ 286 w 2935"/>
                <a:gd name="T35" fmla="*/ 14 h 3310"/>
                <a:gd name="T36" fmla="*/ 320 w 2935"/>
                <a:gd name="T37" fmla="*/ 84 h 3310"/>
                <a:gd name="T38" fmla="*/ 415 w 2935"/>
                <a:gd name="T39" fmla="*/ 169 h 3310"/>
                <a:gd name="T40" fmla="*/ 751 w 2935"/>
                <a:gd name="T41" fmla="*/ 236 h 3310"/>
                <a:gd name="T42" fmla="*/ 1162 w 2935"/>
                <a:gd name="T43" fmla="*/ 208 h 3310"/>
                <a:gd name="T44" fmla="*/ 1511 w 2935"/>
                <a:gd name="T45" fmla="*/ 203 h 3310"/>
                <a:gd name="T46" fmla="*/ 1896 w 2935"/>
                <a:gd name="T47" fmla="*/ 270 h 3310"/>
                <a:gd name="T48" fmla="*/ 2182 w 2935"/>
                <a:gd name="T49" fmla="*/ 450 h 3310"/>
                <a:gd name="T50" fmla="*/ 2163 w 2935"/>
                <a:gd name="T51" fmla="*/ 755 h 3310"/>
                <a:gd name="T52" fmla="*/ 1910 w 2935"/>
                <a:gd name="T53" fmla="*/ 985 h 3310"/>
                <a:gd name="T54" fmla="*/ 1460 w 2935"/>
                <a:gd name="T55" fmla="*/ 1206 h 3310"/>
                <a:gd name="T56" fmla="*/ 1130 w 2935"/>
                <a:gd name="T57" fmla="*/ 1515 h 3310"/>
                <a:gd name="T58" fmla="*/ 1112 w 2935"/>
                <a:gd name="T59" fmla="*/ 1685 h 3310"/>
                <a:gd name="T60" fmla="*/ 1149 w 2935"/>
                <a:gd name="T61" fmla="*/ 1826 h 3310"/>
                <a:gd name="T62" fmla="*/ 1454 w 2935"/>
                <a:gd name="T63" fmla="*/ 1966 h 3310"/>
                <a:gd name="T64" fmla="*/ 1858 w 2935"/>
                <a:gd name="T65" fmla="*/ 2096 h 3310"/>
                <a:gd name="T66" fmla="*/ 2118 w 2935"/>
                <a:gd name="T67" fmla="*/ 2254 h 3310"/>
                <a:gd name="T68" fmla="*/ 2385 w 2935"/>
                <a:gd name="T69" fmla="*/ 2518 h 3310"/>
                <a:gd name="T70" fmla="*/ 2625 w 2935"/>
                <a:gd name="T71" fmla="*/ 3054 h 3310"/>
                <a:gd name="T72" fmla="*/ 2637 w 2935"/>
                <a:gd name="T73" fmla="*/ 3257 h 3310"/>
                <a:gd name="T74" fmla="*/ 769 w 2935"/>
                <a:gd name="T75" fmla="*/ 3253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935" h="3310">
                  <a:moveTo>
                    <a:pt x="769" y="3253"/>
                  </a:moveTo>
                  <a:cubicBezTo>
                    <a:pt x="781" y="3097"/>
                    <a:pt x="854" y="2832"/>
                    <a:pt x="852" y="2704"/>
                  </a:cubicBezTo>
                  <a:cubicBezTo>
                    <a:pt x="849" y="2576"/>
                    <a:pt x="801" y="2541"/>
                    <a:pt x="757" y="2485"/>
                  </a:cubicBezTo>
                  <a:cubicBezTo>
                    <a:pt x="712" y="2428"/>
                    <a:pt x="661" y="2406"/>
                    <a:pt x="580" y="2366"/>
                  </a:cubicBezTo>
                  <a:cubicBezTo>
                    <a:pt x="498" y="2327"/>
                    <a:pt x="349" y="2295"/>
                    <a:pt x="263" y="2248"/>
                  </a:cubicBezTo>
                  <a:cubicBezTo>
                    <a:pt x="176" y="2201"/>
                    <a:pt x="102" y="2150"/>
                    <a:pt x="59" y="2084"/>
                  </a:cubicBezTo>
                  <a:cubicBezTo>
                    <a:pt x="18" y="2018"/>
                    <a:pt x="0" y="1927"/>
                    <a:pt x="4" y="1848"/>
                  </a:cubicBezTo>
                  <a:cubicBezTo>
                    <a:pt x="8" y="1768"/>
                    <a:pt x="15" y="1725"/>
                    <a:pt x="80" y="1611"/>
                  </a:cubicBezTo>
                  <a:cubicBezTo>
                    <a:pt x="144" y="1497"/>
                    <a:pt x="266" y="1273"/>
                    <a:pt x="389" y="1160"/>
                  </a:cubicBezTo>
                  <a:cubicBezTo>
                    <a:pt x="513" y="1047"/>
                    <a:pt x="641" y="1021"/>
                    <a:pt x="820" y="936"/>
                  </a:cubicBezTo>
                  <a:cubicBezTo>
                    <a:pt x="1000" y="850"/>
                    <a:pt x="1334" y="726"/>
                    <a:pt x="1466" y="642"/>
                  </a:cubicBezTo>
                  <a:cubicBezTo>
                    <a:pt x="1598" y="559"/>
                    <a:pt x="1638" y="487"/>
                    <a:pt x="1612" y="434"/>
                  </a:cubicBezTo>
                  <a:cubicBezTo>
                    <a:pt x="1586" y="381"/>
                    <a:pt x="1486" y="344"/>
                    <a:pt x="1315" y="326"/>
                  </a:cubicBezTo>
                  <a:cubicBezTo>
                    <a:pt x="1143" y="309"/>
                    <a:pt x="734" y="339"/>
                    <a:pt x="580" y="332"/>
                  </a:cubicBezTo>
                  <a:cubicBezTo>
                    <a:pt x="426" y="325"/>
                    <a:pt x="467" y="327"/>
                    <a:pt x="392" y="285"/>
                  </a:cubicBezTo>
                  <a:cubicBezTo>
                    <a:pt x="317" y="243"/>
                    <a:pt x="170" y="120"/>
                    <a:pt x="129" y="79"/>
                  </a:cubicBezTo>
                  <a:cubicBezTo>
                    <a:pt x="88" y="38"/>
                    <a:pt x="117" y="51"/>
                    <a:pt x="143" y="40"/>
                  </a:cubicBezTo>
                  <a:cubicBezTo>
                    <a:pt x="168" y="29"/>
                    <a:pt x="291" y="29"/>
                    <a:pt x="286" y="14"/>
                  </a:cubicBezTo>
                  <a:cubicBezTo>
                    <a:pt x="281" y="0"/>
                    <a:pt x="298" y="58"/>
                    <a:pt x="320" y="84"/>
                  </a:cubicBezTo>
                  <a:cubicBezTo>
                    <a:pt x="341" y="110"/>
                    <a:pt x="343" y="144"/>
                    <a:pt x="415" y="169"/>
                  </a:cubicBezTo>
                  <a:cubicBezTo>
                    <a:pt x="487" y="194"/>
                    <a:pt x="626" y="230"/>
                    <a:pt x="751" y="236"/>
                  </a:cubicBezTo>
                  <a:cubicBezTo>
                    <a:pt x="875" y="243"/>
                    <a:pt x="1035" y="214"/>
                    <a:pt x="1162" y="208"/>
                  </a:cubicBezTo>
                  <a:cubicBezTo>
                    <a:pt x="1289" y="203"/>
                    <a:pt x="1389" y="193"/>
                    <a:pt x="1511" y="203"/>
                  </a:cubicBezTo>
                  <a:cubicBezTo>
                    <a:pt x="1633" y="212"/>
                    <a:pt x="1785" y="229"/>
                    <a:pt x="1896" y="270"/>
                  </a:cubicBezTo>
                  <a:cubicBezTo>
                    <a:pt x="2009" y="311"/>
                    <a:pt x="2139" y="370"/>
                    <a:pt x="2182" y="450"/>
                  </a:cubicBezTo>
                  <a:cubicBezTo>
                    <a:pt x="2226" y="531"/>
                    <a:pt x="2208" y="666"/>
                    <a:pt x="2163" y="755"/>
                  </a:cubicBezTo>
                  <a:cubicBezTo>
                    <a:pt x="2117" y="844"/>
                    <a:pt x="2027" y="911"/>
                    <a:pt x="1910" y="985"/>
                  </a:cubicBezTo>
                  <a:cubicBezTo>
                    <a:pt x="1792" y="1060"/>
                    <a:pt x="1589" y="1118"/>
                    <a:pt x="1460" y="1206"/>
                  </a:cubicBezTo>
                  <a:cubicBezTo>
                    <a:pt x="1330" y="1294"/>
                    <a:pt x="1188" y="1435"/>
                    <a:pt x="1130" y="1515"/>
                  </a:cubicBezTo>
                  <a:cubicBezTo>
                    <a:pt x="1072" y="1596"/>
                    <a:pt x="1108" y="1633"/>
                    <a:pt x="1112" y="1685"/>
                  </a:cubicBezTo>
                  <a:cubicBezTo>
                    <a:pt x="1115" y="1737"/>
                    <a:pt x="1092" y="1779"/>
                    <a:pt x="1149" y="1826"/>
                  </a:cubicBezTo>
                  <a:cubicBezTo>
                    <a:pt x="1207" y="1872"/>
                    <a:pt x="1335" y="1921"/>
                    <a:pt x="1454" y="1966"/>
                  </a:cubicBezTo>
                  <a:cubicBezTo>
                    <a:pt x="1572" y="2010"/>
                    <a:pt x="1748" y="2048"/>
                    <a:pt x="1858" y="2096"/>
                  </a:cubicBezTo>
                  <a:cubicBezTo>
                    <a:pt x="1969" y="2144"/>
                    <a:pt x="2031" y="2183"/>
                    <a:pt x="2118" y="2254"/>
                  </a:cubicBezTo>
                  <a:cubicBezTo>
                    <a:pt x="2207" y="2324"/>
                    <a:pt x="2300" y="2385"/>
                    <a:pt x="2385" y="2518"/>
                  </a:cubicBezTo>
                  <a:cubicBezTo>
                    <a:pt x="2469" y="2652"/>
                    <a:pt x="2584" y="2931"/>
                    <a:pt x="2625" y="3054"/>
                  </a:cubicBezTo>
                  <a:cubicBezTo>
                    <a:pt x="2667" y="3176"/>
                    <a:pt x="2935" y="3310"/>
                    <a:pt x="2637" y="3257"/>
                  </a:cubicBezTo>
                  <a:cubicBezTo>
                    <a:pt x="2327" y="3258"/>
                    <a:pt x="1060" y="3268"/>
                    <a:pt x="769" y="3253"/>
                  </a:cubicBezTo>
                  <a:close/>
                </a:path>
              </a:pathLst>
            </a:custGeom>
            <a:solidFill>
              <a:srgbClr val="EAEAEA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C0C0C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ZA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22" name="Group 17">
              <a:extLst>
                <a:ext uri="{FF2B5EF4-FFF2-40B4-BE49-F238E27FC236}">
                  <a16:creationId xmlns:a16="http://schemas.microsoft.com/office/drawing/2014/main" id="{FAC840BD-0F3C-89B3-EBCD-DE8CB2ABD50E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927" y="2230"/>
              <a:ext cx="1240" cy="976"/>
              <a:chOff x="2016" y="2165"/>
              <a:chExt cx="1167" cy="921"/>
            </a:xfrm>
          </p:grpSpPr>
          <p:sp>
            <p:nvSpPr>
              <p:cNvPr id="98" name="Freeform 18">
                <a:extLst>
                  <a:ext uri="{FF2B5EF4-FFF2-40B4-BE49-F238E27FC236}">
                    <a16:creationId xmlns:a16="http://schemas.microsoft.com/office/drawing/2014/main" id="{CC08676F-A578-EA82-799C-9C91BD9B8B79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auto">
              <a:xfrm>
                <a:off x="2966" y="2925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9" name="Freeform 19">
                <a:extLst>
                  <a:ext uri="{FF2B5EF4-FFF2-40B4-BE49-F238E27FC236}">
                    <a16:creationId xmlns:a16="http://schemas.microsoft.com/office/drawing/2014/main" id="{09BF7CF9-953B-ECC5-C126-DDD1A7217821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auto">
              <a:xfrm>
                <a:off x="2016" y="2940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0" name="Freeform 20">
                <a:extLst>
                  <a:ext uri="{FF2B5EF4-FFF2-40B4-BE49-F238E27FC236}">
                    <a16:creationId xmlns:a16="http://schemas.microsoft.com/office/drawing/2014/main" id="{8F9C0187-ABAB-0D02-2F63-E48AACA74BE1}"/>
                  </a:ext>
                </a:extLst>
              </p:cNvPr>
              <p:cNvSpPr>
                <a:spLocks noEditPoints="1"/>
              </p:cNvSpPr>
              <p:nvPr>
                <p:custDataLst>
                  <p:tags r:id="rId60"/>
                </p:custDataLst>
              </p:nvPr>
            </p:nvSpPr>
            <p:spPr bwMode="auto">
              <a:xfrm>
                <a:off x="2031" y="2165"/>
                <a:ext cx="1097" cy="864"/>
              </a:xfrm>
              <a:custGeom>
                <a:avLst/>
                <a:gdLst>
                  <a:gd name="T0" fmla="*/ 714 w 1097"/>
                  <a:gd name="T1" fmla="*/ 272 h 864"/>
                  <a:gd name="T2" fmla="*/ 891 w 1097"/>
                  <a:gd name="T3" fmla="*/ 320 h 864"/>
                  <a:gd name="T4" fmla="*/ 1035 w 1097"/>
                  <a:gd name="T5" fmla="*/ 347 h 864"/>
                  <a:gd name="T6" fmla="*/ 1045 w 1097"/>
                  <a:gd name="T7" fmla="*/ 288 h 864"/>
                  <a:gd name="T8" fmla="*/ 1069 w 1097"/>
                  <a:gd name="T9" fmla="*/ 304 h 864"/>
                  <a:gd name="T10" fmla="*/ 1073 w 1097"/>
                  <a:gd name="T11" fmla="*/ 352 h 864"/>
                  <a:gd name="T12" fmla="*/ 1083 w 1097"/>
                  <a:gd name="T13" fmla="*/ 373 h 864"/>
                  <a:gd name="T14" fmla="*/ 1097 w 1097"/>
                  <a:gd name="T15" fmla="*/ 373 h 864"/>
                  <a:gd name="T16" fmla="*/ 1083 w 1097"/>
                  <a:gd name="T17" fmla="*/ 464 h 864"/>
                  <a:gd name="T18" fmla="*/ 1064 w 1097"/>
                  <a:gd name="T19" fmla="*/ 619 h 864"/>
                  <a:gd name="T20" fmla="*/ 1073 w 1097"/>
                  <a:gd name="T21" fmla="*/ 667 h 864"/>
                  <a:gd name="T22" fmla="*/ 1083 w 1097"/>
                  <a:gd name="T23" fmla="*/ 709 h 864"/>
                  <a:gd name="T24" fmla="*/ 1064 w 1097"/>
                  <a:gd name="T25" fmla="*/ 811 h 864"/>
                  <a:gd name="T26" fmla="*/ 1059 w 1097"/>
                  <a:gd name="T27" fmla="*/ 832 h 864"/>
                  <a:gd name="T28" fmla="*/ 1025 w 1097"/>
                  <a:gd name="T29" fmla="*/ 837 h 864"/>
                  <a:gd name="T30" fmla="*/ 1016 w 1097"/>
                  <a:gd name="T31" fmla="*/ 763 h 864"/>
                  <a:gd name="T32" fmla="*/ 930 w 1097"/>
                  <a:gd name="T33" fmla="*/ 752 h 864"/>
                  <a:gd name="T34" fmla="*/ 733 w 1097"/>
                  <a:gd name="T35" fmla="*/ 736 h 864"/>
                  <a:gd name="T36" fmla="*/ 599 w 1097"/>
                  <a:gd name="T37" fmla="*/ 603 h 864"/>
                  <a:gd name="T38" fmla="*/ 767 w 1097"/>
                  <a:gd name="T39" fmla="*/ 624 h 864"/>
                  <a:gd name="T40" fmla="*/ 934 w 1097"/>
                  <a:gd name="T41" fmla="*/ 645 h 864"/>
                  <a:gd name="T42" fmla="*/ 1025 w 1097"/>
                  <a:gd name="T43" fmla="*/ 512 h 864"/>
                  <a:gd name="T44" fmla="*/ 886 w 1097"/>
                  <a:gd name="T45" fmla="*/ 432 h 864"/>
                  <a:gd name="T46" fmla="*/ 714 w 1097"/>
                  <a:gd name="T47" fmla="*/ 395 h 864"/>
                  <a:gd name="T48" fmla="*/ 570 w 1097"/>
                  <a:gd name="T49" fmla="*/ 229 h 864"/>
                  <a:gd name="T50" fmla="*/ 120 w 1097"/>
                  <a:gd name="T51" fmla="*/ 85 h 864"/>
                  <a:gd name="T52" fmla="*/ 287 w 1097"/>
                  <a:gd name="T53" fmla="*/ 144 h 864"/>
                  <a:gd name="T54" fmla="*/ 455 w 1097"/>
                  <a:gd name="T55" fmla="*/ 197 h 864"/>
                  <a:gd name="T56" fmla="*/ 541 w 1097"/>
                  <a:gd name="T57" fmla="*/ 357 h 864"/>
                  <a:gd name="T58" fmla="*/ 374 w 1097"/>
                  <a:gd name="T59" fmla="*/ 315 h 864"/>
                  <a:gd name="T60" fmla="*/ 201 w 1097"/>
                  <a:gd name="T61" fmla="*/ 277 h 864"/>
                  <a:gd name="T62" fmla="*/ 120 w 1097"/>
                  <a:gd name="T63" fmla="*/ 336 h 864"/>
                  <a:gd name="T64" fmla="*/ 120 w 1097"/>
                  <a:gd name="T65" fmla="*/ 400 h 864"/>
                  <a:gd name="T66" fmla="*/ 206 w 1097"/>
                  <a:gd name="T67" fmla="*/ 544 h 864"/>
                  <a:gd name="T68" fmla="*/ 374 w 1097"/>
                  <a:gd name="T69" fmla="*/ 571 h 864"/>
                  <a:gd name="T70" fmla="*/ 541 w 1097"/>
                  <a:gd name="T71" fmla="*/ 592 h 864"/>
                  <a:gd name="T72" fmla="*/ 422 w 1097"/>
                  <a:gd name="T73" fmla="*/ 715 h 864"/>
                  <a:gd name="T74" fmla="*/ 230 w 1097"/>
                  <a:gd name="T75" fmla="*/ 704 h 864"/>
                  <a:gd name="T76" fmla="*/ 125 w 1097"/>
                  <a:gd name="T77" fmla="*/ 699 h 864"/>
                  <a:gd name="T78" fmla="*/ 115 w 1097"/>
                  <a:gd name="T79" fmla="*/ 864 h 864"/>
                  <a:gd name="T80" fmla="*/ 72 w 1097"/>
                  <a:gd name="T81" fmla="*/ 864 h 864"/>
                  <a:gd name="T82" fmla="*/ 53 w 1097"/>
                  <a:gd name="T83" fmla="*/ 688 h 864"/>
                  <a:gd name="T84" fmla="*/ 10 w 1097"/>
                  <a:gd name="T85" fmla="*/ 688 h 864"/>
                  <a:gd name="T86" fmla="*/ 5 w 1097"/>
                  <a:gd name="T87" fmla="*/ 528 h 864"/>
                  <a:gd name="T88" fmla="*/ 24 w 1097"/>
                  <a:gd name="T89" fmla="*/ 517 h 864"/>
                  <a:gd name="T90" fmla="*/ 57 w 1097"/>
                  <a:gd name="T91" fmla="*/ 517 h 864"/>
                  <a:gd name="T92" fmla="*/ 67 w 1097"/>
                  <a:gd name="T93" fmla="*/ 315 h 864"/>
                  <a:gd name="T94" fmla="*/ 33 w 1097"/>
                  <a:gd name="T95" fmla="*/ 235 h 864"/>
                  <a:gd name="T96" fmla="*/ 14 w 1097"/>
                  <a:gd name="T97" fmla="*/ 101 h 864"/>
                  <a:gd name="T98" fmla="*/ 24 w 1097"/>
                  <a:gd name="T99" fmla="*/ 59 h 864"/>
                  <a:gd name="T100" fmla="*/ 48 w 1097"/>
                  <a:gd name="T101" fmla="*/ 53 h 864"/>
                  <a:gd name="T102" fmla="*/ 72 w 1097"/>
                  <a:gd name="T103" fmla="*/ 53 h 864"/>
                  <a:gd name="T104" fmla="*/ 77 w 1097"/>
                  <a:gd name="T105" fmla="*/ 16 h 864"/>
                  <a:gd name="T106" fmla="*/ 96 w 1097"/>
                  <a:gd name="T107" fmla="*/ 0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97" h="864">
                    <a:moveTo>
                      <a:pt x="570" y="229"/>
                    </a:moveTo>
                    <a:lnTo>
                      <a:pt x="599" y="240"/>
                    </a:lnTo>
                    <a:lnTo>
                      <a:pt x="628" y="245"/>
                    </a:lnTo>
                    <a:lnTo>
                      <a:pt x="656" y="256"/>
                    </a:lnTo>
                    <a:lnTo>
                      <a:pt x="685" y="261"/>
                    </a:lnTo>
                    <a:lnTo>
                      <a:pt x="714" y="272"/>
                    </a:lnTo>
                    <a:lnTo>
                      <a:pt x="743" y="277"/>
                    </a:lnTo>
                    <a:lnTo>
                      <a:pt x="776" y="288"/>
                    </a:lnTo>
                    <a:lnTo>
                      <a:pt x="805" y="293"/>
                    </a:lnTo>
                    <a:lnTo>
                      <a:pt x="834" y="304"/>
                    </a:lnTo>
                    <a:lnTo>
                      <a:pt x="863" y="309"/>
                    </a:lnTo>
                    <a:lnTo>
                      <a:pt x="891" y="320"/>
                    </a:lnTo>
                    <a:lnTo>
                      <a:pt x="920" y="325"/>
                    </a:lnTo>
                    <a:lnTo>
                      <a:pt x="949" y="336"/>
                    </a:lnTo>
                    <a:lnTo>
                      <a:pt x="978" y="341"/>
                    </a:lnTo>
                    <a:lnTo>
                      <a:pt x="1006" y="347"/>
                    </a:lnTo>
                    <a:lnTo>
                      <a:pt x="1035" y="357"/>
                    </a:lnTo>
                    <a:lnTo>
                      <a:pt x="1035" y="347"/>
                    </a:lnTo>
                    <a:lnTo>
                      <a:pt x="1035" y="336"/>
                    </a:lnTo>
                    <a:lnTo>
                      <a:pt x="1035" y="325"/>
                    </a:lnTo>
                    <a:lnTo>
                      <a:pt x="1035" y="315"/>
                    </a:lnTo>
                    <a:lnTo>
                      <a:pt x="1035" y="304"/>
                    </a:lnTo>
                    <a:lnTo>
                      <a:pt x="1040" y="293"/>
                    </a:lnTo>
                    <a:lnTo>
                      <a:pt x="1045" y="288"/>
                    </a:lnTo>
                    <a:lnTo>
                      <a:pt x="1054" y="288"/>
                    </a:lnTo>
                    <a:lnTo>
                      <a:pt x="1059" y="293"/>
                    </a:lnTo>
                    <a:lnTo>
                      <a:pt x="1059" y="293"/>
                    </a:lnTo>
                    <a:lnTo>
                      <a:pt x="1064" y="299"/>
                    </a:lnTo>
                    <a:lnTo>
                      <a:pt x="1069" y="299"/>
                    </a:lnTo>
                    <a:lnTo>
                      <a:pt x="1069" y="304"/>
                    </a:lnTo>
                    <a:lnTo>
                      <a:pt x="1073" y="304"/>
                    </a:lnTo>
                    <a:lnTo>
                      <a:pt x="1073" y="309"/>
                    </a:lnTo>
                    <a:lnTo>
                      <a:pt x="1078" y="315"/>
                    </a:lnTo>
                    <a:lnTo>
                      <a:pt x="1073" y="325"/>
                    </a:lnTo>
                    <a:lnTo>
                      <a:pt x="1073" y="341"/>
                    </a:lnTo>
                    <a:lnTo>
                      <a:pt x="1073" y="352"/>
                    </a:lnTo>
                    <a:lnTo>
                      <a:pt x="1073" y="368"/>
                    </a:lnTo>
                    <a:lnTo>
                      <a:pt x="1073" y="368"/>
                    </a:lnTo>
                    <a:lnTo>
                      <a:pt x="1078" y="368"/>
                    </a:lnTo>
                    <a:lnTo>
                      <a:pt x="1078" y="368"/>
                    </a:lnTo>
                    <a:lnTo>
                      <a:pt x="1083" y="373"/>
                    </a:lnTo>
                    <a:lnTo>
                      <a:pt x="1083" y="373"/>
                    </a:lnTo>
                    <a:lnTo>
                      <a:pt x="1088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95"/>
                    </a:lnTo>
                    <a:lnTo>
                      <a:pt x="1093" y="421"/>
                    </a:lnTo>
                    <a:lnTo>
                      <a:pt x="1093" y="448"/>
                    </a:lnTo>
                    <a:lnTo>
                      <a:pt x="1088" y="464"/>
                    </a:lnTo>
                    <a:lnTo>
                      <a:pt x="1083" y="464"/>
                    </a:lnTo>
                    <a:lnTo>
                      <a:pt x="1078" y="464"/>
                    </a:lnTo>
                    <a:lnTo>
                      <a:pt x="1073" y="464"/>
                    </a:lnTo>
                    <a:lnTo>
                      <a:pt x="1069" y="469"/>
                    </a:lnTo>
                    <a:lnTo>
                      <a:pt x="1064" y="512"/>
                    </a:lnTo>
                    <a:lnTo>
                      <a:pt x="1064" y="565"/>
                    </a:lnTo>
                    <a:lnTo>
                      <a:pt x="1064" y="619"/>
                    </a:lnTo>
                    <a:lnTo>
                      <a:pt x="1064" y="667"/>
                    </a:lnTo>
                    <a:lnTo>
                      <a:pt x="1064" y="667"/>
                    </a:lnTo>
                    <a:lnTo>
                      <a:pt x="1069" y="667"/>
                    </a:lnTo>
                    <a:lnTo>
                      <a:pt x="1069" y="667"/>
                    </a:lnTo>
                    <a:lnTo>
                      <a:pt x="1073" y="667"/>
                    </a:lnTo>
                    <a:lnTo>
                      <a:pt x="1073" y="667"/>
                    </a:lnTo>
                    <a:lnTo>
                      <a:pt x="1078" y="667"/>
                    </a:lnTo>
                    <a:lnTo>
                      <a:pt x="1083" y="667"/>
                    </a:lnTo>
                    <a:lnTo>
                      <a:pt x="1083" y="667"/>
                    </a:lnTo>
                    <a:lnTo>
                      <a:pt x="1088" y="672"/>
                    </a:lnTo>
                    <a:lnTo>
                      <a:pt x="1088" y="688"/>
                    </a:lnTo>
                    <a:lnTo>
                      <a:pt x="1083" y="709"/>
                    </a:lnTo>
                    <a:lnTo>
                      <a:pt x="1083" y="731"/>
                    </a:lnTo>
                    <a:lnTo>
                      <a:pt x="1083" y="747"/>
                    </a:lnTo>
                    <a:lnTo>
                      <a:pt x="1064" y="763"/>
                    </a:lnTo>
                    <a:lnTo>
                      <a:pt x="1064" y="779"/>
                    </a:lnTo>
                    <a:lnTo>
                      <a:pt x="1064" y="795"/>
                    </a:lnTo>
                    <a:lnTo>
                      <a:pt x="1064" y="811"/>
                    </a:lnTo>
                    <a:lnTo>
                      <a:pt x="1064" y="827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59" y="832"/>
                    </a:lnTo>
                    <a:lnTo>
                      <a:pt x="1054" y="832"/>
                    </a:lnTo>
                    <a:lnTo>
                      <a:pt x="1049" y="832"/>
                    </a:lnTo>
                    <a:lnTo>
                      <a:pt x="1040" y="832"/>
                    </a:lnTo>
                    <a:lnTo>
                      <a:pt x="1035" y="837"/>
                    </a:lnTo>
                    <a:lnTo>
                      <a:pt x="1030" y="837"/>
                    </a:lnTo>
                    <a:lnTo>
                      <a:pt x="1025" y="837"/>
                    </a:lnTo>
                    <a:lnTo>
                      <a:pt x="1021" y="837"/>
                    </a:lnTo>
                    <a:lnTo>
                      <a:pt x="1016" y="837"/>
                    </a:lnTo>
                    <a:lnTo>
                      <a:pt x="1016" y="837"/>
                    </a:lnTo>
                    <a:lnTo>
                      <a:pt x="1011" y="837"/>
                    </a:lnTo>
                    <a:lnTo>
                      <a:pt x="1011" y="837"/>
                    </a:lnTo>
                    <a:lnTo>
                      <a:pt x="1016" y="763"/>
                    </a:lnTo>
                    <a:lnTo>
                      <a:pt x="1011" y="763"/>
                    </a:lnTo>
                    <a:lnTo>
                      <a:pt x="1006" y="763"/>
                    </a:lnTo>
                    <a:lnTo>
                      <a:pt x="992" y="757"/>
                    </a:lnTo>
                    <a:lnTo>
                      <a:pt x="978" y="757"/>
                    </a:lnTo>
                    <a:lnTo>
                      <a:pt x="954" y="757"/>
                    </a:lnTo>
                    <a:lnTo>
                      <a:pt x="930" y="752"/>
                    </a:lnTo>
                    <a:lnTo>
                      <a:pt x="906" y="752"/>
                    </a:lnTo>
                    <a:lnTo>
                      <a:pt x="877" y="747"/>
                    </a:lnTo>
                    <a:lnTo>
                      <a:pt x="843" y="747"/>
                    </a:lnTo>
                    <a:lnTo>
                      <a:pt x="810" y="741"/>
                    </a:lnTo>
                    <a:lnTo>
                      <a:pt x="771" y="741"/>
                    </a:lnTo>
                    <a:lnTo>
                      <a:pt x="733" y="736"/>
                    </a:lnTo>
                    <a:lnTo>
                      <a:pt x="695" y="736"/>
                    </a:lnTo>
                    <a:lnTo>
                      <a:pt x="656" y="731"/>
                    </a:lnTo>
                    <a:lnTo>
                      <a:pt x="613" y="731"/>
                    </a:lnTo>
                    <a:lnTo>
                      <a:pt x="570" y="725"/>
                    </a:lnTo>
                    <a:lnTo>
                      <a:pt x="570" y="597"/>
                    </a:lnTo>
                    <a:lnTo>
                      <a:pt x="599" y="603"/>
                    </a:lnTo>
                    <a:lnTo>
                      <a:pt x="628" y="603"/>
                    </a:lnTo>
                    <a:lnTo>
                      <a:pt x="656" y="608"/>
                    </a:lnTo>
                    <a:lnTo>
                      <a:pt x="685" y="608"/>
                    </a:lnTo>
                    <a:lnTo>
                      <a:pt x="714" y="613"/>
                    </a:lnTo>
                    <a:lnTo>
                      <a:pt x="743" y="619"/>
                    </a:lnTo>
                    <a:lnTo>
                      <a:pt x="767" y="624"/>
                    </a:lnTo>
                    <a:lnTo>
                      <a:pt x="795" y="624"/>
                    </a:lnTo>
                    <a:lnTo>
                      <a:pt x="824" y="629"/>
                    </a:lnTo>
                    <a:lnTo>
                      <a:pt x="853" y="635"/>
                    </a:lnTo>
                    <a:lnTo>
                      <a:pt x="882" y="635"/>
                    </a:lnTo>
                    <a:lnTo>
                      <a:pt x="910" y="640"/>
                    </a:lnTo>
                    <a:lnTo>
                      <a:pt x="934" y="645"/>
                    </a:lnTo>
                    <a:lnTo>
                      <a:pt x="963" y="651"/>
                    </a:lnTo>
                    <a:lnTo>
                      <a:pt x="992" y="651"/>
                    </a:lnTo>
                    <a:lnTo>
                      <a:pt x="1021" y="656"/>
                    </a:lnTo>
                    <a:lnTo>
                      <a:pt x="1021" y="608"/>
                    </a:lnTo>
                    <a:lnTo>
                      <a:pt x="1025" y="560"/>
                    </a:lnTo>
                    <a:lnTo>
                      <a:pt x="1025" y="512"/>
                    </a:lnTo>
                    <a:lnTo>
                      <a:pt x="1025" y="464"/>
                    </a:lnTo>
                    <a:lnTo>
                      <a:pt x="997" y="459"/>
                    </a:lnTo>
                    <a:lnTo>
                      <a:pt x="968" y="453"/>
                    </a:lnTo>
                    <a:lnTo>
                      <a:pt x="939" y="448"/>
                    </a:lnTo>
                    <a:lnTo>
                      <a:pt x="910" y="437"/>
                    </a:lnTo>
                    <a:lnTo>
                      <a:pt x="886" y="432"/>
                    </a:lnTo>
                    <a:lnTo>
                      <a:pt x="858" y="427"/>
                    </a:lnTo>
                    <a:lnTo>
                      <a:pt x="829" y="421"/>
                    </a:lnTo>
                    <a:lnTo>
                      <a:pt x="800" y="416"/>
                    </a:lnTo>
                    <a:lnTo>
                      <a:pt x="771" y="405"/>
                    </a:lnTo>
                    <a:lnTo>
                      <a:pt x="743" y="400"/>
                    </a:lnTo>
                    <a:lnTo>
                      <a:pt x="714" y="395"/>
                    </a:lnTo>
                    <a:lnTo>
                      <a:pt x="685" y="389"/>
                    </a:lnTo>
                    <a:lnTo>
                      <a:pt x="656" y="384"/>
                    </a:lnTo>
                    <a:lnTo>
                      <a:pt x="628" y="373"/>
                    </a:lnTo>
                    <a:lnTo>
                      <a:pt x="599" y="368"/>
                    </a:lnTo>
                    <a:lnTo>
                      <a:pt x="570" y="363"/>
                    </a:lnTo>
                    <a:lnTo>
                      <a:pt x="570" y="229"/>
                    </a:lnTo>
                    <a:close/>
                    <a:moveTo>
                      <a:pt x="101" y="5"/>
                    </a:moveTo>
                    <a:lnTo>
                      <a:pt x="120" y="21"/>
                    </a:lnTo>
                    <a:lnTo>
                      <a:pt x="120" y="37"/>
                    </a:lnTo>
                    <a:lnTo>
                      <a:pt x="120" y="53"/>
                    </a:lnTo>
                    <a:lnTo>
                      <a:pt x="120" y="69"/>
                    </a:lnTo>
                    <a:lnTo>
                      <a:pt x="120" y="85"/>
                    </a:lnTo>
                    <a:lnTo>
                      <a:pt x="144" y="91"/>
                    </a:lnTo>
                    <a:lnTo>
                      <a:pt x="172" y="101"/>
                    </a:lnTo>
                    <a:lnTo>
                      <a:pt x="201" y="112"/>
                    </a:lnTo>
                    <a:lnTo>
                      <a:pt x="230" y="123"/>
                    </a:lnTo>
                    <a:lnTo>
                      <a:pt x="259" y="133"/>
                    </a:lnTo>
                    <a:lnTo>
                      <a:pt x="287" y="144"/>
                    </a:lnTo>
                    <a:lnTo>
                      <a:pt x="316" y="149"/>
                    </a:lnTo>
                    <a:lnTo>
                      <a:pt x="345" y="160"/>
                    </a:lnTo>
                    <a:lnTo>
                      <a:pt x="369" y="171"/>
                    </a:lnTo>
                    <a:lnTo>
                      <a:pt x="398" y="176"/>
                    </a:lnTo>
                    <a:lnTo>
                      <a:pt x="426" y="187"/>
                    </a:lnTo>
                    <a:lnTo>
                      <a:pt x="455" y="197"/>
                    </a:lnTo>
                    <a:lnTo>
                      <a:pt x="484" y="203"/>
                    </a:lnTo>
                    <a:lnTo>
                      <a:pt x="513" y="213"/>
                    </a:lnTo>
                    <a:lnTo>
                      <a:pt x="541" y="224"/>
                    </a:lnTo>
                    <a:lnTo>
                      <a:pt x="570" y="229"/>
                    </a:lnTo>
                    <a:lnTo>
                      <a:pt x="570" y="363"/>
                    </a:lnTo>
                    <a:lnTo>
                      <a:pt x="541" y="357"/>
                    </a:lnTo>
                    <a:lnTo>
                      <a:pt x="517" y="352"/>
                    </a:lnTo>
                    <a:lnTo>
                      <a:pt x="489" y="341"/>
                    </a:lnTo>
                    <a:lnTo>
                      <a:pt x="460" y="336"/>
                    </a:lnTo>
                    <a:lnTo>
                      <a:pt x="431" y="331"/>
                    </a:lnTo>
                    <a:lnTo>
                      <a:pt x="402" y="325"/>
                    </a:lnTo>
                    <a:lnTo>
                      <a:pt x="374" y="315"/>
                    </a:lnTo>
                    <a:lnTo>
                      <a:pt x="345" y="309"/>
                    </a:lnTo>
                    <a:lnTo>
                      <a:pt x="316" y="304"/>
                    </a:lnTo>
                    <a:lnTo>
                      <a:pt x="287" y="299"/>
                    </a:lnTo>
                    <a:lnTo>
                      <a:pt x="259" y="288"/>
                    </a:lnTo>
                    <a:lnTo>
                      <a:pt x="230" y="283"/>
                    </a:lnTo>
                    <a:lnTo>
                      <a:pt x="201" y="277"/>
                    </a:lnTo>
                    <a:lnTo>
                      <a:pt x="177" y="272"/>
                    </a:lnTo>
                    <a:lnTo>
                      <a:pt x="148" y="267"/>
                    </a:lnTo>
                    <a:lnTo>
                      <a:pt x="120" y="261"/>
                    </a:lnTo>
                    <a:lnTo>
                      <a:pt x="120" y="283"/>
                    </a:lnTo>
                    <a:lnTo>
                      <a:pt x="120" y="309"/>
                    </a:lnTo>
                    <a:lnTo>
                      <a:pt x="120" y="336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400"/>
                    </a:lnTo>
                    <a:lnTo>
                      <a:pt x="120" y="443"/>
                    </a:lnTo>
                    <a:lnTo>
                      <a:pt x="120" y="485"/>
                    </a:lnTo>
                    <a:lnTo>
                      <a:pt x="120" y="528"/>
                    </a:lnTo>
                    <a:lnTo>
                      <a:pt x="148" y="533"/>
                    </a:lnTo>
                    <a:lnTo>
                      <a:pt x="177" y="539"/>
                    </a:lnTo>
                    <a:lnTo>
                      <a:pt x="206" y="544"/>
                    </a:lnTo>
                    <a:lnTo>
                      <a:pt x="235" y="549"/>
                    </a:lnTo>
                    <a:lnTo>
                      <a:pt x="263" y="549"/>
                    </a:lnTo>
                    <a:lnTo>
                      <a:pt x="292" y="555"/>
                    </a:lnTo>
                    <a:lnTo>
                      <a:pt x="316" y="560"/>
                    </a:lnTo>
                    <a:lnTo>
                      <a:pt x="345" y="565"/>
                    </a:lnTo>
                    <a:lnTo>
                      <a:pt x="374" y="571"/>
                    </a:lnTo>
                    <a:lnTo>
                      <a:pt x="402" y="576"/>
                    </a:lnTo>
                    <a:lnTo>
                      <a:pt x="431" y="576"/>
                    </a:lnTo>
                    <a:lnTo>
                      <a:pt x="460" y="581"/>
                    </a:lnTo>
                    <a:lnTo>
                      <a:pt x="489" y="587"/>
                    </a:lnTo>
                    <a:lnTo>
                      <a:pt x="517" y="587"/>
                    </a:lnTo>
                    <a:lnTo>
                      <a:pt x="541" y="592"/>
                    </a:lnTo>
                    <a:lnTo>
                      <a:pt x="570" y="597"/>
                    </a:lnTo>
                    <a:lnTo>
                      <a:pt x="570" y="725"/>
                    </a:lnTo>
                    <a:lnTo>
                      <a:pt x="532" y="720"/>
                    </a:lnTo>
                    <a:lnTo>
                      <a:pt x="494" y="720"/>
                    </a:lnTo>
                    <a:lnTo>
                      <a:pt x="455" y="715"/>
                    </a:lnTo>
                    <a:lnTo>
                      <a:pt x="422" y="715"/>
                    </a:lnTo>
                    <a:lnTo>
                      <a:pt x="383" y="715"/>
                    </a:lnTo>
                    <a:lnTo>
                      <a:pt x="350" y="709"/>
                    </a:lnTo>
                    <a:lnTo>
                      <a:pt x="316" y="709"/>
                    </a:lnTo>
                    <a:lnTo>
                      <a:pt x="283" y="704"/>
                    </a:lnTo>
                    <a:lnTo>
                      <a:pt x="254" y="704"/>
                    </a:lnTo>
                    <a:lnTo>
                      <a:pt x="230" y="704"/>
                    </a:lnTo>
                    <a:lnTo>
                      <a:pt x="201" y="704"/>
                    </a:lnTo>
                    <a:lnTo>
                      <a:pt x="182" y="699"/>
                    </a:lnTo>
                    <a:lnTo>
                      <a:pt x="163" y="699"/>
                    </a:lnTo>
                    <a:lnTo>
                      <a:pt x="148" y="699"/>
                    </a:lnTo>
                    <a:lnTo>
                      <a:pt x="134" y="699"/>
                    </a:lnTo>
                    <a:lnTo>
                      <a:pt x="125" y="699"/>
                    </a:lnTo>
                    <a:lnTo>
                      <a:pt x="125" y="736"/>
                    </a:lnTo>
                    <a:lnTo>
                      <a:pt x="129" y="779"/>
                    </a:lnTo>
                    <a:lnTo>
                      <a:pt x="129" y="821"/>
                    </a:lnTo>
                    <a:lnTo>
                      <a:pt x="129" y="859"/>
                    </a:lnTo>
                    <a:lnTo>
                      <a:pt x="125" y="864"/>
                    </a:lnTo>
                    <a:lnTo>
                      <a:pt x="115" y="864"/>
                    </a:lnTo>
                    <a:lnTo>
                      <a:pt x="105" y="864"/>
                    </a:lnTo>
                    <a:lnTo>
                      <a:pt x="101" y="864"/>
                    </a:lnTo>
                    <a:lnTo>
                      <a:pt x="91" y="864"/>
                    </a:lnTo>
                    <a:lnTo>
                      <a:pt x="86" y="864"/>
                    </a:lnTo>
                    <a:lnTo>
                      <a:pt x="81" y="864"/>
                    </a:lnTo>
                    <a:lnTo>
                      <a:pt x="72" y="864"/>
                    </a:lnTo>
                    <a:lnTo>
                      <a:pt x="72" y="837"/>
                    </a:lnTo>
                    <a:lnTo>
                      <a:pt x="72" y="784"/>
                    </a:lnTo>
                    <a:lnTo>
                      <a:pt x="72" y="725"/>
                    </a:lnTo>
                    <a:lnTo>
                      <a:pt x="72" y="693"/>
                    </a:lnTo>
                    <a:lnTo>
                      <a:pt x="62" y="688"/>
                    </a:lnTo>
                    <a:lnTo>
                      <a:pt x="53" y="688"/>
                    </a:lnTo>
                    <a:lnTo>
                      <a:pt x="48" y="688"/>
                    </a:lnTo>
                    <a:lnTo>
                      <a:pt x="38" y="688"/>
                    </a:lnTo>
                    <a:lnTo>
                      <a:pt x="33" y="688"/>
                    </a:lnTo>
                    <a:lnTo>
                      <a:pt x="24" y="688"/>
                    </a:lnTo>
                    <a:lnTo>
                      <a:pt x="14" y="688"/>
                    </a:lnTo>
                    <a:lnTo>
                      <a:pt x="10" y="688"/>
                    </a:lnTo>
                    <a:lnTo>
                      <a:pt x="5" y="683"/>
                    </a:lnTo>
                    <a:lnTo>
                      <a:pt x="5" y="645"/>
                    </a:lnTo>
                    <a:lnTo>
                      <a:pt x="5" y="608"/>
                    </a:lnTo>
                    <a:lnTo>
                      <a:pt x="0" y="571"/>
                    </a:lnTo>
                    <a:lnTo>
                      <a:pt x="0" y="533"/>
                    </a:lnTo>
                    <a:lnTo>
                      <a:pt x="5" y="528"/>
                    </a:lnTo>
                    <a:lnTo>
                      <a:pt x="5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14" y="528"/>
                    </a:lnTo>
                    <a:lnTo>
                      <a:pt x="19" y="523"/>
                    </a:lnTo>
                    <a:lnTo>
                      <a:pt x="24" y="517"/>
                    </a:lnTo>
                    <a:lnTo>
                      <a:pt x="29" y="512"/>
                    </a:lnTo>
                    <a:lnTo>
                      <a:pt x="33" y="512"/>
                    </a:lnTo>
                    <a:lnTo>
                      <a:pt x="38" y="512"/>
                    </a:lnTo>
                    <a:lnTo>
                      <a:pt x="43" y="512"/>
                    </a:lnTo>
                    <a:lnTo>
                      <a:pt x="53" y="517"/>
                    </a:lnTo>
                    <a:lnTo>
                      <a:pt x="57" y="517"/>
                    </a:lnTo>
                    <a:lnTo>
                      <a:pt x="62" y="517"/>
                    </a:lnTo>
                    <a:lnTo>
                      <a:pt x="62" y="517"/>
                    </a:lnTo>
                    <a:lnTo>
                      <a:pt x="67" y="517"/>
                    </a:lnTo>
                    <a:lnTo>
                      <a:pt x="72" y="448"/>
                    </a:lnTo>
                    <a:lnTo>
                      <a:pt x="72" y="384"/>
                    </a:lnTo>
                    <a:lnTo>
                      <a:pt x="67" y="315"/>
                    </a:lnTo>
                    <a:lnTo>
                      <a:pt x="72" y="251"/>
                    </a:lnTo>
                    <a:lnTo>
                      <a:pt x="62" y="245"/>
                    </a:lnTo>
                    <a:lnTo>
                      <a:pt x="57" y="245"/>
                    </a:lnTo>
                    <a:lnTo>
                      <a:pt x="48" y="240"/>
                    </a:lnTo>
                    <a:lnTo>
                      <a:pt x="43" y="240"/>
                    </a:lnTo>
                    <a:lnTo>
                      <a:pt x="33" y="235"/>
                    </a:lnTo>
                    <a:lnTo>
                      <a:pt x="24" y="235"/>
                    </a:lnTo>
                    <a:lnTo>
                      <a:pt x="19" y="235"/>
                    </a:lnTo>
                    <a:lnTo>
                      <a:pt x="10" y="235"/>
                    </a:lnTo>
                    <a:lnTo>
                      <a:pt x="19" y="197"/>
                    </a:lnTo>
                    <a:lnTo>
                      <a:pt x="14" y="149"/>
                    </a:lnTo>
                    <a:lnTo>
                      <a:pt x="14" y="101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59"/>
                    </a:lnTo>
                    <a:lnTo>
                      <a:pt x="19" y="59"/>
                    </a:lnTo>
                    <a:lnTo>
                      <a:pt x="24" y="59"/>
                    </a:lnTo>
                    <a:lnTo>
                      <a:pt x="29" y="59"/>
                    </a:lnTo>
                    <a:lnTo>
                      <a:pt x="33" y="53"/>
                    </a:lnTo>
                    <a:lnTo>
                      <a:pt x="38" y="48"/>
                    </a:lnTo>
                    <a:lnTo>
                      <a:pt x="43" y="48"/>
                    </a:lnTo>
                    <a:lnTo>
                      <a:pt x="43" y="53"/>
                    </a:lnTo>
                    <a:lnTo>
                      <a:pt x="48" y="53"/>
                    </a:lnTo>
                    <a:lnTo>
                      <a:pt x="53" y="59"/>
                    </a:lnTo>
                    <a:lnTo>
                      <a:pt x="57" y="59"/>
                    </a:lnTo>
                    <a:lnTo>
                      <a:pt x="62" y="59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2" y="53"/>
                    </a:lnTo>
                    <a:lnTo>
                      <a:pt x="72" y="43"/>
                    </a:lnTo>
                    <a:lnTo>
                      <a:pt x="72" y="32"/>
                    </a:lnTo>
                    <a:lnTo>
                      <a:pt x="72" y="27"/>
                    </a:lnTo>
                    <a:lnTo>
                      <a:pt x="72" y="21"/>
                    </a:lnTo>
                    <a:lnTo>
                      <a:pt x="72" y="16"/>
                    </a:lnTo>
                    <a:lnTo>
                      <a:pt x="77" y="16"/>
                    </a:lnTo>
                    <a:lnTo>
                      <a:pt x="81" y="11"/>
                    </a:lnTo>
                    <a:lnTo>
                      <a:pt x="86" y="11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101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1" name="Freeform 21">
                <a:extLst>
                  <a:ext uri="{FF2B5EF4-FFF2-40B4-BE49-F238E27FC236}">
                    <a16:creationId xmlns:a16="http://schemas.microsoft.com/office/drawing/2014/main" id="{C0BF3301-7ABC-E28D-CB7D-E03F62977ECA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auto">
              <a:xfrm>
                <a:off x="2127" y="2176"/>
                <a:ext cx="24" cy="837"/>
              </a:xfrm>
              <a:custGeom>
                <a:avLst/>
                <a:gdLst>
                  <a:gd name="T0" fmla="*/ 24 w 24"/>
                  <a:gd name="T1" fmla="*/ 837 h 837"/>
                  <a:gd name="T2" fmla="*/ 19 w 24"/>
                  <a:gd name="T3" fmla="*/ 837 h 837"/>
                  <a:gd name="T4" fmla="*/ 14 w 24"/>
                  <a:gd name="T5" fmla="*/ 837 h 837"/>
                  <a:gd name="T6" fmla="*/ 9 w 24"/>
                  <a:gd name="T7" fmla="*/ 837 h 837"/>
                  <a:gd name="T8" fmla="*/ 9 w 24"/>
                  <a:gd name="T9" fmla="*/ 837 h 837"/>
                  <a:gd name="T10" fmla="*/ 5 w 24"/>
                  <a:gd name="T11" fmla="*/ 629 h 837"/>
                  <a:gd name="T12" fmla="*/ 0 w 24"/>
                  <a:gd name="T13" fmla="*/ 421 h 837"/>
                  <a:gd name="T14" fmla="*/ 0 w 24"/>
                  <a:gd name="T15" fmla="*/ 213 h 837"/>
                  <a:gd name="T16" fmla="*/ 5 w 24"/>
                  <a:gd name="T17" fmla="*/ 0 h 837"/>
                  <a:gd name="T18" fmla="*/ 5 w 24"/>
                  <a:gd name="T19" fmla="*/ 5 h 837"/>
                  <a:gd name="T20" fmla="*/ 9 w 24"/>
                  <a:gd name="T21" fmla="*/ 5 h 837"/>
                  <a:gd name="T22" fmla="*/ 14 w 24"/>
                  <a:gd name="T23" fmla="*/ 10 h 837"/>
                  <a:gd name="T24" fmla="*/ 14 w 24"/>
                  <a:gd name="T25" fmla="*/ 10 h 837"/>
                  <a:gd name="T26" fmla="*/ 19 w 24"/>
                  <a:gd name="T27" fmla="*/ 218 h 837"/>
                  <a:gd name="T28" fmla="*/ 19 w 24"/>
                  <a:gd name="T29" fmla="*/ 421 h 837"/>
                  <a:gd name="T30" fmla="*/ 24 w 24"/>
                  <a:gd name="T31" fmla="*/ 629 h 837"/>
                  <a:gd name="T32" fmla="*/ 24 w 24"/>
                  <a:gd name="T33" fmla="*/ 837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7">
                    <a:moveTo>
                      <a:pt x="24" y="837"/>
                    </a:moveTo>
                    <a:lnTo>
                      <a:pt x="19" y="837"/>
                    </a:lnTo>
                    <a:lnTo>
                      <a:pt x="14" y="837"/>
                    </a:lnTo>
                    <a:lnTo>
                      <a:pt x="9" y="837"/>
                    </a:lnTo>
                    <a:lnTo>
                      <a:pt x="9" y="837"/>
                    </a:lnTo>
                    <a:lnTo>
                      <a:pt x="5" y="629"/>
                    </a:lnTo>
                    <a:lnTo>
                      <a:pt x="0" y="421"/>
                    </a:lnTo>
                    <a:lnTo>
                      <a:pt x="0" y="213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9" y="218"/>
                    </a:lnTo>
                    <a:lnTo>
                      <a:pt x="19" y="421"/>
                    </a:lnTo>
                    <a:lnTo>
                      <a:pt x="24" y="629"/>
                    </a:lnTo>
                    <a:lnTo>
                      <a:pt x="24" y="837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2" name="Freeform 22">
                <a:extLst>
                  <a:ext uri="{FF2B5EF4-FFF2-40B4-BE49-F238E27FC236}">
                    <a16:creationId xmlns:a16="http://schemas.microsoft.com/office/drawing/2014/main" id="{AB46811E-C3F7-574B-5A5C-072E1404C662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auto">
              <a:xfrm>
                <a:off x="2103" y="2181"/>
                <a:ext cx="24" cy="832"/>
              </a:xfrm>
              <a:custGeom>
                <a:avLst/>
                <a:gdLst>
                  <a:gd name="T0" fmla="*/ 19 w 24"/>
                  <a:gd name="T1" fmla="*/ 0 h 832"/>
                  <a:gd name="T2" fmla="*/ 19 w 24"/>
                  <a:gd name="T3" fmla="*/ 208 h 832"/>
                  <a:gd name="T4" fmla="*/ 19 w 24"/>
                  <a:gd name="T5" fmla="*/ 416 h 832"/>
                  <a:gd name="T6" fmla="*/ 19 w 24"/>
                  <a:gd name="T7" fmla="*/ 624 h 832"/>
                  <a:gd name="T8" fmla="*/ 24 w 24"/>
                  <a:gd name="T9" fmla="*/ 832 h 832"/>
                  <a:gd name="T10" fmla="*/ 19 w 24"/>
                  <a:gd name="T11" fmla="*/ 832 h 832"/>
                  <a:gd name="T12" fmla="*/ 14 w 24"/>
                  <a:gd name="T13" fmla="*/ 832 h 832"/>
                  <a:gd name="T14" fmla="*/ 9 w 24"/>
                  <a:gd name="T15" fmla="*/ 832 h 832"/>
                  <a:gd name="T16" fmla="*/ 5 w 24"/>
                  <a:gd name="T17" fmla="*/ 832 h 832"/>
                  <a:gd name="T18" fmla="*/ 0 w 24"/>
                  <a:gd name="T19" fmla="*/ 635 h 832"/>
                  <a:gd name="T20" fmla="*/ 0 w 24"/>
                  <a:gd name="T21" fmla="*/ 432 h 832"/>
                  <a:gd name="T22" fmla="*/ 0 w 24"/>
                  <a:gd name="T23" fmla="*/ 229 h 832"/>
                  <a:gd name="T24" fmla="*/ 5 w 24"/>
                  <a:gd name="T25" fmla="*/ 21 h 832"/>
                  <a:gd name="T26" fmla="*/ 5 w 24"/>
                  <a:gd name="T27" fmla="*/ 11 h 832"/>
                  <a:gd name="T28" fmla="*/ 9 w 24"/>
                  <a:gd name="T29" fmla="*/ 5 h 832"/>
                  <a:gd name="T30" fmla="*/ 14 w 24"/>
                  <a:gd name="T31" fmla="*/ 0 h 832"/>
                  <a:gd name="T32" fmla="*/ 19 w 24"/>
                  <a:gd name="T33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2">
                    <a:moveTo>
                      <a:pt x="19" y="0"/>
                    </a:moveTo>
                    <a:lnTo>
                      <a:pt x="19" y="208"/>
                    </a:lnTo>
                    <a:lnTo>
                      <a:pt x="19" y="416"/>
                    </a:lnTo>
                    <a:lnTo>
                      <a:pt x="19" y="624"/>
                    </a:lnTo>
                    <a:lnTo>
                      <a:pt x="24" y="832"/>
                    </a:lnTo>
                    <a:lnTo>
                      <a:pt x="19" y="832"/>
                    </a:lnTo>
                    <a:lnTo>
                      <a:pt x="14" y="832"/>
                    </a:lnTo>
                    <a:lnTo>
                      <a:pt x="9" y="832"/>
                    </a:lnTo>
                    <a:lnTo>
                      <a:pt x="5" y="832"/>
                    </a:lnTo>
                    <a:lnTo>
                      <a:pt x="0" y="635"/>
                    </a:lnTo>
                    <a:lnTo>
                      <a:pt x="0" y="432"/>
                    </a:lnTo>
                    <a:lnTo>
                      <a:pt x="0" y="229"/>
                    </a:lnTo>
                    <a:lnTo>
                      <a:pt x="5" y="21"/>
                    </a:lnTo>
                    <a:lnTo>
                      <a:pt x="5" y="11"/>
                    </a:lnTo>
                    <a:lnTo>
                      <a:pt x="9" y="5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3" name="Freeform 23">
                <a:extLst>
                  <a:ext uri="{FF2B5EF4-FFF2-40B4-BE49-F238E27FC236}">
                    <a16:creationId xmlns:a16="http://schemas.microsoft.com/office/drawing/2014/main" id="{E463B6A5-5BA2-DBCF-96C4-5A9DA1708F03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auto">
              <a:xfrm>
                <a:off x="2050" y="2229"/>
                <a:ext cx="19" cy="155"/>
              </a:xfrm>
              <a:custGeom>
                <a:avLst/>
                <a:gdLst>
                  <a:gd name="T0" fmla="*/ 19 w 19"/>
                  <a:gd name="T1" fmla="*/ 0 h 155"/>
                  <a:gd name="T2" fmla="*/ 19 w 19"/>
                  <a:gd name="T3" fmla="*/ 32 h 155"/>
                  <a:gd name="T4" fmla="*/ 19 w 19"/>
                  <a:gd name="T5" fmla="*/ 69 h 155"/>
                  <a:gd name="T6" fmla="*/ 19 w 19"/>
                  <a:gd name="T7" fmla="*/ 107 h 155"/>
                  <a:gd name="T8" fmla="*/ 19 w 19"/>
                  <a:gd name="T9" fmla="*/ 144 h 155"/>
                  <a:gd name="T10" fmla="*/ 19 w 19"/>
                  <a:gd name="T11" fmla="*/ 144 h 155"/>
                  <a:gd name="T12" fmla="*/ 14 w 19"/>
                  <a:gd name="T13" fmla="*/ 149 h 155"/>
                  <a:gd name="T14" fmla="*/ 10 w 19"/>
                  <a:gd name="T15" fmla="*/ 149 h 155"/>
                  <a:gd name="T16" fmla="*/ 0 w 19"/>
                  <a:gd name="T17" fmla="*/ 155 h 155"/>
                  <a:gd name="T18" fmla="*/ 0 w 19"/>
                  <a:gd name="T19" fmla="*/ 117 h 155"/>
                  <a:gd name="T20" fmla="*/ 0 w 19"/>
                  <a:gd name="T21" fmla="*/ 80 h 155"/>
                  <a:gd name="T22" fmla="*/ 0 w 19"/>
                  <a:gd name="T23" fmla="*/ 43 h 155"/>
                  <a:gd name="T24" fmla="*/ 0 w 19"/>
                  <a:gd name="T25" fmla="*/ 5 h 155"/>
                  <a:gd name="T26" fmla="*/ 5 w 19"/>
                  <a:gd name="T27" fmla="*/ 5 h 155"/>
                  <a:gd name="T28" fmla="*/ 10 w 19"/>
                  <a:gd name="T29" fmla="*/ 0 h 155"/>
                  <a:gd name="T30" fmla="*/ 14 w 19"/>
                  <a:gd name="T31" fmla="*/ 0 h 155"/>
                  <a:gd name="T32" fmla="*/ 19 w 19"/>
                  <a:gd name="T33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55">
                    <a:moveTo>
                      <a:pt x="19" y="0"/>
                    </a:moveTo>
                    <a:lnTo>
                      <a:pt x="19" y="32"/>
                    </a:lnTo>
                    <a:lnTo>
                      <a:pt x="19" y="69"/>
                    </a:lnTo>
                    <a:lnTo>
                      <a:pt x="19" y="107"/>
                    </a:lnTo>
                    <a:lnTo>
                      <a:pt x="19" y="144"/>
                    </a:lnTo>
                    <a:lnTo>
                      <a:pt x="19" y="144"/>
                    </a:lnTo>
                    <a:lnTo>
                      <a:pt x="14" y="149"/>
                    </a:lnTo>
                    <a:lnTo>
                      <a:pt x="10" y="149"/>
                    </a:lnTo>
                    <a:lnTo>
                      <a:pt x="0" y="155"/>
                    </a:lnTo>
                    <a:lnTo>
                      <a:pt x="0" y="117"/>
                    </a:lnTo>
                    <a:lnTo>
                      <a:pt x="0" y="80"/>
                    </a:lnTo>
                    <a:lnTo>
                      <a:pt x="0" y="4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4" name="Freeform 24">
                <a:extLst>
                  <a:ext uri="{FF2B5EF4-FFF2-40B4-BE49-F238E27FC236}">
                    <a16:creationId xmlns:a16="http://schemas.microsoft.com/office/drawing/2014/main" id="{482D3DE5-6C3B-1854-10CB-C22772C0E2EB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auto">
              <a:xfrm>
                <a:off x="2074" y="2229"/>
                <a:ext cx="29" cy="155"/>
              </a:xfrm>
              <a:custGeom>
                <a:avLst/>
                <a:gdLst>
                  <a:gd name="T0" fmla="*/ 29 w 29"/>
                  <a:gd name="T1" fmla="*/ 11 h 155"/>
                  <a:gd name="T2" fmla="*/ 29 w 29"/>
                  <a:gd name="T3" fmla="*/ 43 h 155"/>
                  <a:gd name="T4" fmla="*/ 29 w 29"/>
                  <a:gd name="T5" fmla="*/ 80 h 155"/>
                  <a:gd name="T6" fmla="*/ 29 w 29"/>
                  <a:gd name="T7" fmla="*/ 117 h 155"/>
                  <a:gd name="T8" fmla="*/ 29 w 29"/>
                  <a:gd name="T9" fmla="*/ 155 h 155"/>
                  <a:gd name="T10" fmla="*/ 5 w 29"/>
                  <a:gd name="T11" fmla="*/ 144 h 155"/>
                  <a:gd name="T12" fmla="*/ 0 w 29"/>
                  <a:gd name="T13" fmla="*/ 0 h 155"/>
                  <a:gd name="T14" fmla="*/ 29 w 29"/>
                  <a:gd name="T15" fmla="*/ 1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55">
                    <a:moveTo>
                      <a:pt x="29" y="11"/>
                    </a:moveTo>
                    <a:lnTo>
                      <a:pt x="29" y="43"/>
                    </a:lnTo>
                    <a:lnTo>
                      <a:pt x="29" y="80"/>
                    </a:lnTo>
                    <a:lnTo>
                      <a:pt x="29" y="117"/>
                    </a:lnTo>
                    <a:lnTo>
                      <a:pt x="29" y="155"/>
                    </a:lnTo>
                    <a:lnTo>
                      <a:pt x="5" y="144"/>
                    </a:lnTo>
                    <a:lnTo>
                      <a:pt x="0" y="0"/>
                    </a:lnTo>
                    <a:lnTo>
                      <a:pt x="29" y="1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5" name="Freeform 25">
                <a:extLst>
                  <a:ext uri="{FF2B5EF4-FFF2-40B4-BE49-F238E27FC236}">
                    <a16:creationId xmlns:a16="http://schemas.microsoft.com/office/drawing/2014/main" id="{BD3E9126-40C7-BB49-9A29-2351492C190B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auto">
              <a:xfrm>
                <a:off x="2146" y="2256"/>
                <a:ext cx="225" cy="149"/>
              </a:xfrm>
              <a:custGeom>
                <a:avLst/>
                <a:gdLst>
                  <a:gd name="T0" fmla="*/ 48 w 225"/>
                  <a:gd name="T1" fmla="*/ 149 h 149"/>
                  <a:gd name="T2" fmla="*/ 43 w 225"/>
                  <a:gd name="T3" fmla="*/ 149 h 149"/>
                  <a:gd name="T4" fmla="*/ 38 w 225"/>
                  <a:gd name="T5" fmla="*/ 144 h 149"/>
                  <a:gd name="T6" fmla="*/ 33 w 225"/>
                  <a:gd name="T7" fmla="*/ 144 h 149"/>
                  <a:gd name="T8" fmla="*/ 24 w 225"/>
                  <a:gd name="T9" fmla="*/ 144 h 149"/>
                  <a:gd name="T10" fmla="*/ 19 w 225"/>
                  <a:gd name="T11" fmla="*/ 144 h 149"/>
                  <a:gd name="T12" fmla="*/ 14 w 225"/>
                  <a:gd name="T13" fmla="*/ 138 h 149"/>
                  <a:gd name="T14" fmla="*/ 10 w 225"/>
                  <a:gd name="T15" fmla="*/ 138 h 149"/>
                  <a:gd name="T16" fmla="*/ 5 w 225"/>
                  <a:gd name="T17" fmla="*/ 133 h 149"/>
                  <a:gd name="T18" fmla="*/ 0 w 225"/>
                  <a:gd name="T19" fmla="*/ 101 h 149"/>
                  <a:gd name="T20" fmla="*/ 5 w 225"/>
                  <a:gd name="T21" fmla="*/ 69 h 149"/>
                  <a:gd name="T22" fmla="*/ 5 w 225"/>
                  <a:gd name="T23" fmla="*/ 37 h 149"/>
                  <a:gd name="T24" fmla="*/ 5 w 225"/>
                  <a:gd name="T25" fmla="*/ 0 h 149"/>
                  <a:gd name="T26" fmla="*/ 19 w 225"/>
                  <a:gd name="T27" fmla="*/ 5 h 149"/>
                  <a:gd name="T28" fmla="*/ 33 w 225"/>
                  <a:gd name="T29" fmla="*/ 10 h 149"/>
                  <a:gd name="T30" fmla="*/ 43 w 225"/>
                  <a:gd name="T31" fmla="*/ 16 h 149"/>
                  <a:gd name="T32" fmla="*/ 57 w 225"/>
                  <a:gd name="T33" fmla="*/ 16 h 149"/>
                  <a:gd name="T34" fmla="*/ 72 w 225"/>
                  <a:gd name="T35" fmla="*/ 21 h 149"/>
                  <a:gd name="T36" fmla="*/ 86 w 225"/>
                  <a:gd name="T37" fmla="*/ 26 h 149"/>
                  <a:gd name="T38" fmla="*/ 101 w 225"/>
                  <a:gd name="T39" fmla="*/ 32 h 149"/>
                  <a:gd name="T40" fmla="*/ 115 w 225"/>
                  <a:gd name="T41" fmla="*/ 37 h 149"/>
                  <a:gd name="T42" fmla="*/ 129 w 225"/>
                  <a:gd name="T43" fmla="*/ 42 h 149"/>
                  <a:gd name="T44" fmla="*/ 144 w 225"/>
                  <a:gd name="T45" fmla="*/ 48 h 149"/>
                  <a:gd name="T46" fmla="*/ 153 w 225"/>
                  <a:gd name="T47" fmla="*/ 53 h 149"/>
                  <a:gd name="T48" fmla="*/ 168 w 225"/>
                  <a:gd name="T49" fmla="*/ 53 h 149"/>
                  <a:gd name="T50" fmla="*/ 182 w 225"/>
                  <a:gd name="T51" fmla="*/ 58 h 149"/>
                  <a:gd name="T52" fmla="*/ 196 w 225"/>
                  <a:gd name="T53" fmla="*/ 64 h 149"/>
                  <a:gd name="T54" fmla="*/ 211 w 225"/>
                  <a:gd name="T55" fmla="*/ 69 h 149"/>
                  <a:gd name="T56" fmla="*/ 225 w 225"/>
                  <a:gd name="T57" fmla="*/ 74 h 149"/>
                  <a:gd name="T58" fmla="*/ 216 w 225"/>
                  <a:gd name="T59" fmla="*/ 74 h 149"/>
                  <a:gd name="T60" fmla="*/ 201 w 225"/>
                  <a:gd name="T61" fmla="*/ 80 h 149"/>
                  <a:gd name="T62" fmla="*/ 192 w 225"/>
                  <a:gd name="T63" fmla="*/ 85 h 149"/>
                  <a:gd name="T64" fmla="*/ 182 w 225"/>
                  <a:gd name="T65" fmla="*/ 90 h 149"/>
                  <a:gd name="T66" fmla="*/ 172 w 225"/>
                  <a:gd name="T67" fmla="*/ 96 h 149"/>
                  <a:gd name="T68" fmla="*/ 163 w 225"/>
                  <a:gd name="T69" fmla="*/ 101 h 149"/>
                  <a:gd name="T70" fmla="*/ 148 w 225"/>
                  <a:gd name="T71" fmla="*/ 106 h 149"/>
                  <a:gd name="T72" fmla="*/ 139 w 225"/>
                  <a:gd name="T73" fmla="*/ 112 h 149"/>
                  <a:gd name="T74" fmla="*/ 129 w 225"/>
                  <a:gd name="T75" fmla="*/ 117 h 149"/>
                  <a:gd name="T76" fmla="*/ 115 w 225"/>
                  <a:gd name="T77" fmla="*/ 122 h 149"/>
                  <a:gd name="T78" fmla="*/ 105 w 225"/>
                  <a:gd name="T79" fmla="*/ 128 h 149"/>
                  <a:gd name="T80" fmla="*/ 96 w 225"/>
                  <a:gd name="T81" fmla="*/ 133 h 149"/>
                  <a:gd name="T82" fmla="*/ 81 w 225"/>
                  <a:gd name="T83" fmla="*/ 133 h 149"/>
                  <a:gd name="T84" fmla="*/ 72 w 225"/>
                  <a:gd name="T85" fmla="*/ 138 h 149"/>
                  <a:gd name="T86" fmla="*/ 62 w 225"/>
                  <a:gd name="T87" fmla="*/ 144 h 149"/>
                  <a:gd name="T88" fmla="*/ 48 w 225"/>
                  <a:gd name="T8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5" h="149">
                    <a:moveTo>
                      <a:pt x="48" y="149"/>
                    </a:moveTo>
                    <a:lnTo>
                      <a:pt x="43" y="149"/>
                    </a:lnTo>
                    <a:lnTo>
                      <a:pt x="38" y="144"/>
                    </a:lnTo>
                    <a:lnTo>
                      <a:pt x="33" y="144"/>
                    </a:lnTo>
                    <a:lnTo>
                      <a:pt x="24" y="144"/>
                    </a:lnTo>
                    <a:lnTo>
                      <a:pt x="19" y="144"/>
                    </a:lnTo>
                    <a:lnTo>
                      <a:pt x="14" y="138"/>
                    </a:lnTo>
                    <a:lnTo>
                      <a:pt x="10" y="138"/>
                    </a:lnTo>
                    <a:lnTo>
                      <a:pt x="5" y="133"/>
                    </a:lnTo>
                    <a:lnTo>
                      <a:pt x="0" y="101"/>
                    </a:lnTo>
                    <a:lnTo>
                      <a:pt x="5" y="69"/>
                    </a:lnTo>
                    <a:lnTo>
                      <a:pt x="5" y="37"/>
                    </a:lnTo>
                    <a:lnTo>
                      <a:pt x="5" y="0"/>
                    </a:lnTo>
                    <a:lnTo>
                      <a:pt x="19" y="5"/>
                    </a:lnTo>
                    <a:lnTo>
                      <a:pt x="33" y="10"/>
                    </a:lnTo>
                    <a:lnTo>
                      <a:pt x="43" y="16"/>
                    </a:lnTo>
                    <a:lnTo>
                      <a:pt x="57" y="16"/>
                    </a:lnTo>
                    <a:lnTo>
                      <a:pt x="72" y="21"/>
                    </a:lnTo>
                    <a:lnTo>
                      <a:pt x="86" y="26"/>
                    </a:lnTo>
                    <a:lnTo>
                      <a:pt x="101" y="32"/>
                    </a:lnTo>
                    <a:lnTo>
                      <a:pt x="115" y="37"/>
                    </a:lnTo>
                    <a:lnTo>
                      <a:pt x="129" y="42"/>
                    </a:lnTo>
                    <a:lnTo>
                      <a:pt x="144" y="48"/>
                    </a:lnTo>
                    <a:lnTo>
                      <a:pt x="153" y="53"/>
                    </a:lnTo>
                    <a:lnTo>
                      <a:pt x="168" y="53"/>
                    </a:lnTo>
                    <a:lnTo>
                      <a:pt x="182" y="58"/>
                    </a:lnTo>
                    <a:lnTo>
                      <a:pt x="196" y="64"/>
                    </a:lnTo>
                    <a:lnTo>
                      <a:pt x="211" y="69"/>
                    </a:lnTo>
                    <a:lnTo>
                      <a:pt x="225" y="74"/>
                    </a:lnTo>
                    <a:lnTo>
                      <a:pt x="216" y="74"/>
                    </a:lnTo>
                    <a:lnTo>
                      <a:pt x="201" y="80"/>
                    </a:lnTo>
                    <a:lnTo>
                      <a:pt x="192" y="85"/>
                    </a:lnTo>
                    <a:lnTo>
                      <a:pt x="182" y="90"/>
                    </a:lnTo>
                    <a:lnTo>
                      <a:pt x="172" y="96"/>
                    </a:lnTo>
                    <a:lnTo>
                      <a:pt x="163" y="101"/>
                    </a:lnTo>
                    <a:lnTo>
                      <a:pt x="148" y="106"/>
                    </a:lnTo>
                    <a:lnTo>
                      <a:pt x="139" y="112"/>
                    </a:lnTo>
                    <a:lnTo>
                      <a:pt x="129" y="117"/>
                    </a:lnTo>
                    <a:lnTo>
                      <a:pt x="115" y="122"/>
                    </a:lnTo>
                    <a:lnTo>
                      <a:pt x="105" y="128"/>
                    </a:lnTo>
                    <a:lnTo>
                      <a:pt x="96" y="133"/>
                    </a:lnTo>
                    <a:lnTo>
                      <a:pt x="81" y="133"/>
                    </a:lnTo>
                    <a:lnTo>
                      <a:pt x="72" y="138"/>
                    </a:lnTo>
                    <a:lnTo>
                      <a:pt x="62" y="144"/>
                    </a:lnTo>
                    <a:lnTo>
                      <a:pt x="48" y="14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6" name="Freeform 26">
                <a:extLst>
                  <a:ext uri="{FF2B5EF4-FFF2-40B4-BE49-F238E27FC236}">
                    <a16:creationId xmlns:a16="http://schemas.microsoft.com/office/drawing/2014/main" id="{741A1153-01E3-BFEE-849C-F9B047411849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auto">
              <a:xfrm>
                <a:off x="2208" y="2330"/>
                <a:ext cx="297" cy="112"/>
              </a:xfrm>
              <a:custGeom>
                <a:avLst/>
                <a:gdLst>
                  <a:gd name="T0" fmla="*/ 158 w 297"/>
                  <a:gd name="T1" fmla="*/ 112 h 112"/>
                  <a:gd name="T2" fmla="*/ 144 w 297"/>
                  <a:gd name="T3" fmla="*/ 107 h 112"/>
                  <a:gd name="T4" fmla="*/ 130 w 297"/>
                  <a:gd name="T5" fmla="*/ 107 h 112"/>
                  <a:gd name="T6" fmla="*/ 115 w 297"/>
                  <a:gd name="T7" fmla="*/ 102 h 112"/>
                  <a:gd name="T8" fmla="*/ 106 w 297"/>
                  <a:gd name="T9" fmla="*/ 102 h 112"/>
                  <a:gd name="T10" fmla="*/ 96 w 297"/>
                  <a:gd name="T11" fmla="*/ 102 h 112"/>
                  <a:gd name="T12" fmla="*/ 82 w 297"/>
                  <a:gd name="T13" fmla="*/ 96 h 112"/>
                  <a:gd name="T14" fmla="*/ 58 w 297"/>
                  <a:gd name="T15" fmla="*/ 91 h 112"/>
                  <a:gd name="T16" fmla="*/ 34 w 297"/>
                  <a:gd name="T17" fmla="*/ 86 h 112"/>
                  <a:gd name="T18" fmla="*/ 10 w 297"/>
                  <a:gd name="T19" fmla="*/ 80 h 112"/>
                  <a:gd name="T20" fmla="*/ 10 w 297"/>
                  <a:gd name="T21" fmla="*/ 75 h 112"/>
                  <a:gd name="T22" fmla="*/ 34 w 297"/>
                  <a:gd name="T23" fmla="*/ 64 h 112"/>
                  <a:gd name="T24" fmla="*/ 53 w 297"/>
                  <a:gd name="T25" fmla="*/ 54 h 112"/>
                  <a:gd name="T26" fmla="*/ 77 w 297"/>
                  <a:gd name="T27" fmla="*/ 43 h 112"/>
                  <a:gd name="T28" fmla="*/ 96 w 297"/>
                  <a:gd name="T29" fmla="*/ 32 h 112"/>
                  <a:gd name="T30" fmla="*/ 120 w 297"/>
                  <a:gd name="T31" fmla="*/ 27 h 112"/>
                  <a:gd name="T32" fmla="*/ 139 w 297"/>
                  <a:gd name="T33" fmla="*/ 16 h 112"/>
                  <a:gd name="T34" fmla="*/ 163 w 297"/>
                  <a:gd name="T35" fmla="*/ 6 h 112"/>
                  <a:gd name="T36" fmla="*/ 182 w 297"/>
                  <a:gd name="T37" fmla="*/ 6 h 112"/>
                  <a:gd name="T38" fmla="*/ 197 w 297"/>
                  <a:gd name="T39" fmla="*/ 11 h 112"/>
                  <a:gd name="T40" fmla="*/ 211 w 297"/>
                  <a:gd name="T41" fmla="*/ 16 h 112"/>
                  <a:gd name="T42" fmla="*/ 225 w 297"/>
                  <a:gd name="T43" fmla="*/ 22 h 112"/>
                  <a:gd name="T44" fmla="*/ 240 w 297"/>
                  <a:gd name="T45" fmla="*/ 27 h 112"/>
                  <a:gd name="T46" fmla="*/ 259 w 297"/>
                  <a:gd name="T47" fmla="*/ 32 h 112"/>
                  <a:gd name="T48" fmla="*/ 273 w 297"/>
                  <a:gd name="T49" fmla="*/ 38 h 112"/>
                  <a:gd name="T50" fmla="*/ 288 w 297"/>
                  <a:gd name="T51" fmla="*/ 38 h 112"/>
                  <a:gd name="T52" fmla="*/ 288 w 297"/>
                  <a:gd name="T53" fmla="*/ 43 h 112"/>
                  <a:gd name="T54" fmla="*/ 273 w 297"/>
                  <a:gd name="T55" fmla="*/ 54 h 112"/>
                  <a:gd name="T56" fmla="*/ 254 w 297"/>
                  <a:gd name="T57" fmla="*/ 64 h 112"/>
                  <a:gd name="T58" fmla="*/ 240 w 297"/>
                  <a:gd name="T59" fmla="*/ 75 h 112"/>
                  <a:gd name="T60" fmla="*/ 221 w 297"/>
                  <a:gd name="T61" fmla="*/ 80 h 112"/>
                  <a:gd name="T62" fmla="*/ 206 w 297"/>
                  <a:gd name="T63" fmla="*/ 91 h 112"/>
                  <a:gd name="T64" fmla="*/ 187 w 297"/>
                  <a:gd name="T65" fmla="*/ 96 h 112"/>
                  <a:gd name="T66" fmla="*/ 173 w 297"/>
                  <a:gd name="T67" fmla="*/ 10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7" h="112">
                    <a:moveTo>
                      <a:pt x="163" y="107"/>
                    </a:moveTo>
                    <a:lnTo>
                      <a:pt x="158" y="112"/>
                    </a:lnTo>
                    <a:lnTo>
                      <a:pt x="149" y="112"/>
                    </a:lnTo>
                    <a:lnTo>
                      <a:pt x="144" y="107"/>
                    </a:lnTo>
                    <a:lnTo>
                      <a:pt x="134" y="107"/>
                    </a:lnTo>
                    <a:lnTo>
                      <a:pt x="130" y="107"/>
                    </a:lnTo>
                    <a:lnTo>
                      <a:pt x="125" y="102"/>
                    </a:lnTo>
                    <a:lnTo>
                      <a:pt x="115" y="102"/>
                    </a:lnTo>
                    <a:lnTo>
                      <a:pt x="110" y="102"/>
                    </a:lnTo>
                    <a:lnTo>
                      <a:pt x="106" y="102"/>
                    </a:lnTo>
                    <a:lnTo>
                      <a:pt x="101" y="102"/>
                    </a:lnTo>
                    <a:lnTo>
                      <a:pt x="96" y="102"/>
                    </a:lnTo>
                    <a:lnTo>
                      <a:pt x="91" y="96"/>
                    </a:lnTo>
                    <a:lnTo>
                      <a:pt x="82" y="96"/>
                    </a:lnTo>
                    <a:lnTo>
                      <a:pt x="67" y="96"/>
                    </a:lnTo>
                    <a:lnTo>
                      <a:pt x="58" y="91"/>
                    </a:lnTo>
                    <a:lnTo>
                      <a:pt x="48" y="86"/>
                    </a:lnTo>
                    <a:lnTo>
                      <a:pt x="34" y="86"/>
                    </a:lnTo>
                    <a:lnTo>
                      <a:pt x="24" y="80"/>
                    </a:lnTo>
                    <a:lnTo>
                      <a:pt x="10" y="80"/>
                    </a:lnTo>
                    <a:lnTo>
                      <a:pt x="0" y="75"/>
                    </a:lnTo>
                    <a:lnTo>
                      <a:pt x="10" y="75"/>
                    </a:lnTo>
                    <a:lnTo>
                      <a:pt x="24" y="70"/>
                    </a:lnTo>
                    <a:lnTo>
                      <a:pt x="34" y="64"/>
                    </a:lnTo>
                    <a:lnTo>
                      <a:pt x="43" y="59"/>
                    </a:lnTo>
                    <a:lnTo>
                      <a:pt x="53" y="54"/>
                    </a:lnTo>
                    <a:lnTo>
                      <a:pt x="63" y="48"/>
                    </a:lnTo>
                    <a:lnTo>
                      <a:pt x="77" y="43"/>
                    </a:lnTo>
                    <a:lnTo>
                      <a:pt x="86" y="38"/>
                    </a:lnTo>
                    <a:lnTo>
                      <a:pt x="96" y="32"/>
                    </a:lnTo>
                    <a:lnTo>
                      <a:pt x="106" y="27"/>
                    </a:lnTo>
                    <a:lnTo>
                      <a:pt x="120" y="27"/>
                    </a:lnTo>
                    <a:lnTo>
                      <a:pt x="130" y="22"/>
                    </a:lnTo>
                    <a:lnTo>
                      <a:pt x="139" y="16"/>
                    </a:lnTo>
                    <a:lnTo>
                      <a:pt x="149" y="11"/>
                    </a:lnTo>
                    <a:lnTo>
                      <a:pt x="163" y="6"/>
                    </a:lnTo>
                    <a:lnTo>
                      <a:pt x="173" y="0"/>
                    </a:lnTo>
                    <a:lnTo>
                      <a:pt x="182" y="6"/>
                    </a:lnTo>
                    <a:lnTo>
                      <a:pt x="187" y="6"/>
                    </a:lnTo>
                    <a:lnTo>
                      <a:pt x="197" y="11"/>
                    </a:lnTo>
                    <a:lnTo>
                      <a:pt x="202" y="11"/>
                    </a:lnTo>
                    <a:lnTo>
                      <a:pt x="211" y="16"/>
                    </a:lnTo>
                    <a:lnTo>
                      <a:pt x="221" y="22"/>
                    </a:lnTo>
                    <a:lnTo>
                      <a:pt x="225" y="22"/>
                    </a:lnTo>
                    <a:lnTo>
                      <a:pt x="235" y="22"/>
                    </a:lnTo>
                    <a:lnTo>
                      <a:pt x="240" y="27"/>
                    </a:lnTo>
                    <a:lnTo>
                      <a:pt x="249" y="27"/>
                    </a:lnTo>
                    <a:lnTo>
                      <a:pt x="259" y="32"/>
                    </a:lnTo>
                    <a:lnTo>
                      <a:pt x="264" y="32"/>
                    </a:lnTo>
                    <a:lnTo>
                      <a:pt x="273" y="38"/>
                    </a:lnTo>
                    <a:lnTo>
                      <a:pt x="278" y="38"/>
                    </a:lnTo>
                    <a:lnTo>
                      <a:pt x="288" y="38"/>
                    </a:lnTo>
                    <a:lnTo>
                      <a:pt x="297" y="43"/>
                    </a:lnTo>
                    <a:lnTo>
                      <a:pt x="288" y="43"/>
                    </a:lnTo>
                    <a:lnTo>
                      <a:pt x="278" y="48"/>
                    </a:lnTo>
                    <a:lnTo>
                      <a:pt x="273" y="54"/>
                    </a:lnTo>
                    <a:lnTo>
                      <a:pt x="264" y="59"/>
                    </a:lnTo>
                    <a:lnTo>
                      <a:pt x="254" y="64"/>
                    </a:lnTo>
                    <a:lnTo>
                      <a:pt x="245" y="70"/>
                    </a:lnTo>
                    <a:lnTo>
                      <a:pt x="240" y="75"/>
                    </a:lnTo>
                    <a:lnTo>
                      <a:pt x="230" y="75"/>
                    </a:lnTo>
                    <a:lnTo>
                      <a:pt x="221" y="80"/>
                    </a:lnTo>
                    <a:lnTo>
                      <a:pt x="216" y="86"/>
                    </a:lnTo>
                    <a:lnTo>
                      <a:pt x="206" y="91"/>
                    </a:lnTo>
                    <a:lnTo>
                      <a:pt x="197" y="96"/>
                    </a:lnTo>
                    <a:lnTo>
                      <a:pt x="187" y="96"/>
                    </a:lnTo>
                    <a:lnTo>
                      <a:pt x="182" y="102"/>
                    </a:lnTo>
                    <a:lnTo>
                      <a:pt x="173" y="107"/>
                    </a:lnTo>
                    <a:lnTo>
                      <a:pt x="163" y="10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7" name="Freeform 27">
                <a:extLst>
                  <a:ext uri="{FF2B5EF4-FFF2-40B4-BE49-F238E27FC236}">
                    <a16:creationId xmlns:a16="http://schemas.microsoft.com/office/drawing/2014/main" id="{42C9E110-0661-2547-C5D8-6833AF7E000F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auto">
              <a:xfrm>
                <a:off x="2376" y="2373"/>
                <a:ext cx="551" cy="176"/>
              </a:xfrm>
              <a:custGeom>
                <a:avLst/>
                <a:gdLst>
                  <a:gd name="T0" fmla="*/ 10 w 551"/>
                  <a:gd name="T1" fmla="*/ 69 h 176"/>
                  <a:gd name="T2" fmla="*/ 24 w 551"/>
                  <a:gd name="T3" fmla="*/ 59 h 176"/>
                  <a:gd name="T4" fmla="*/ 43 w 551"/>
                  <a:gd name="T5" fmla="*/ 53 h 176"/>
                  <a:gd name="T6" fmla="*/ 62 w 551"/>
                  <a:gd name="T7" fmla="*/ 43 h 176"/>
                  <a:gd name="T8" fmla="*/ 77 w 551"/>
                  <a:gd name="T9" fmla="*/ 32 h 176"/>
                  <a:gd name="T10" fmla="*/ 96 w 551"/>
                  <a:gd name="T11" fmla="*/ 27 h 176"/>
                  <a:gd name="T12" fmla="*/ 110 w 551"/>
                  <a:gd name="T13" fmla="*/ 16 h 176"/>
                  <a:gd name="T14" fmla="*/ 129 w 551"/>
                  <a:gd name="T15" fmla="*/ 5 h 176"/>
                  <a:gd name="T16" fmla="*/ 163 w 551"/>
                  <a:gd name="T17" fmla="*/ 11 h 176"/>
                  <a:gd name="T18" fmla="*/ 216 w 551"/>
                  <a:gd name="T19" fmla="*/ 27 h 176"/>
                  <a:gd name="T20" fmla="*/ 268 w 551"/>
                  <a:gd name="T21" fmla="*/ 37 h 176"/>
                  <a:gd name="T22" fmla="*/ 321 w 551"/>
                  <a:gd name="T23" fmla="*/ 53 h 176"/>
                  <a:gd name="T24" fmla="*/ 369 w 551"/>
                  <a:gd name="T25" fmla="*/ 69 h 176"/>
                  <a:gd name="T26" fmla="*/ 422 w 551"/>
                  <a:gd name="T27" fmla="*/ 80 h 176"/>
                  <a:gd name="T28" fmla="*/ 474 w 551"/>
                  <a:gd name="T29" fmla="*/ 96 h 176"/>
                  <a:gd name="T30" fmla="*/ 527 w 551"/>
                  <a:gd name="T31" fmla="*/ 107 h 176"/>
                  <a:gd name="T32" fmla="*/ 546 w 551"/>
                  <a:gd name="T33" fmla="*/ 123 h 176"/>
                  <a:gd name="T34" fmla="*/ 527 w 551"/>
                  <a:gd name="T35" fmla="*/ 128 h 176"/>
                  <a:gd name="T36" fmla="*/ 513 w 551"/>
                  <a:gd name="T37" fmla="*/ 139 h 176"/>
                  <a:gd name="T38" fmla="*/ 498 w 551"/>
                  <a:gd name="T39" fmla="*/ 144 h 176"/>
                  <a:gd name="T40" fmla="*/ 484 w 551"/>
                  <a:gd name="T41" fmla="*/ 149 h 176"/>
                  <a:gd name="T42" fmla="*/ 470 w 551"/>
                  <a:gd name="T43" fmla="*/ 160 h 176"/>
                  <a:gd name="T44" fmla="*/ 455 w 551"/>
                  <a:gd name="T45" fmla="*/ 165 h 176"/>
                  <a:gd name="T46" fmla="*/ 436 w 551"/>
                  <a:gd name="T47" fmla="*/ 171 h 176"/>
                  <a:gd name="T48" fmla="*/ 402 w 551"/>
                  <a:gd name="T49" fmla="*/ 165 h 176"/>
                  <a:gd name="T50" fmla="*/ 350 w 551"/>
                  <a:gd name="T51" fmla="*/ 155 h 176"/>
                  <a:gd name="T52" fmla="*/ 297 w 551"/>
                  <a:gd name="T53" fmla="*/ 144 h 176"/>
                  <a:gd name="T54" fmla="*/ 244 w 551"/>
                  <a:gd name="T55" fmla="*/ 128 h 176"/>
                  <a:gd name="T56" fmla="*/ 187 w 551"/>
                  <a:gd name="T57" fmla="*/ 117 h 176"/>
                  <a:gd name="T58" fmla="*/ 134 w 551"/>
                  <a:gd name="T59" fmla="*/ 101 h 176"/>
                  <a:gd name="T60" fmla="*/ 81 w 551"/>
                  <a:gd name="T61" fmla="*/ 91 h 176"/>
                  <a:gd name="T62" fmla="*/ 24 w 551"/>
                  <a:gd name="T63" fmla="*/ 7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1" h="176">
                    <a:moveTo>
                      <a:pt x="0" y="69"/>
                    </a:moveTo>
                    <a:lnTo>
                      <a:pt x="10" y="69"/>
                    </a:lnTo>
                    <a:lnTo>
                      <a:pt x="19" y="64"/>
                    </a:lnTo>
                    <a:lnTo>
                      <a:pt x="24" y="59"/>
                    </a:lnTo>
                    <a:lnTo>
                      <a:pt x="34" y="53"/>
                    </a:lnTo>
                    <a:lnTo>
                      <a:pt x="43" y="53"/>
                    </a:lnTo>
                    <a:lnTo>
                      <a:pt x="53" y="48"/>
                    </a:lnTo>
                    <a:lnTo>
                      <a:pt x="62" y="43"/>
                    </a:lnTo>
                    <a:lnTo>
                      <a:pt x="67" y="37"/>
                    </a:lnTo>
                    <a:lnTo>
                      <a:pt x="77" y="32"/>
                    </a:lnTo>
                    <a:lnTo>
                      <a:pt x="86" y="32"/>
                    </a:lnTo>
                    <a:lnTo>
                      <a:pt x="96" y="27"/>
                    </a:lnTo>
                    <a:lnTo>
                      <a:pt x="105" y="21"/>
                    </a:lnTo>
                    <a:lnTo>
                      <a:pt x="110" y="16"/>
                    </a:lnTo>
                    <a:lnTo>
                      <a:pt x="120" y="11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63" y="11"/>
                    </a:lnTo>
                    <a:lnTo>
                      <a:pt x="187" y="16"/>
                    </a:lnTo>
                    <a:lnTo>
                      <a:pt x="216" y="27"/>
                    </a:lnTo>
                    <a:lnTo>
                      <a:pt x="240" y="32"/>
                    </a:lnTo>
                    <a:lnTo>
                      <a:pt x="268" y="37"/>
                    </a:lnTo>
                    <a:lnTo>
                      <a:pt x="292" y="48"/>
                    </a:lnTo>
                    <a:lnTo>
                      <a:pt x="321" y="53"/>
                    </a:lnTo>
                    <a:lnTo>
                      <a:pt x="345" y="59"/>
                    </a:lnTo>
                    <a:lnTo>
                      <a:pt x="369" y="69"/>
                    </a:lnTo>
                    <a:lnTo>
                      <a:pt x="398" y="75"/>
                    </a:lnTo>
                    <a:lnTo>
                      <a:pt x="422" y="80"/>
                    </a:lnTo>
                    <a:lnTo>
                      <a:pt x="450" y="91"/>
                    </a:lnTo>
                    <a:lnTo>
                      <a:pt x="474" y="96"/>
                    </a:lnTo>
                    <a:lnTo>
                      <a:pt x="498" y="101"/>
                    </a:lnTo>
                    <a:lnTo>
                      <a:pt x="527" y="107"/>
                    </a:lnTo>
                    <a:lnTo>
                      <a:pt x="551" y="117"/>
                    </a:lnTo>
                    <a:lnTo>
                      <a:pt x="546" y="123"/>
                    </a:lnTo>
                    <a:lnTo>
                      <a:pt x="537" y="123"/>
                    </a:lnTo>
                    <a:lnTo>
                      <a:pt x="527" y="128"/>
                    </a:lnTo>
                    <a:lnTo>
                      <a:pt x="522" y="133"/>
                    </a:lnTo>
                    <a:lnTo>
                      <a:pt x="513" y="139"/>
                    </a:lnTo>
                    <a:lnTo>
                      <a:pt x="508" y="139"/>
                    </a:lnTo>
                    <a:lnTo>
                      <a:pt x="498" y="144"/>
                    </a:lnTo>
                    <a:lnTo>
                      <a:pt x="494" y="149"/>
                    </a:lnTo>
                    <a:lnTo>
                      <a:pt x="484" y="149"/>
                    </a:lnTo>
                    <a:lnTo>
                      <a:pt x="474" y="155"/>
                    </a:lnTo>
                    <a:lnTo>
                      <a:pt x="470" y="160"/>
                    </a:lnTo>
                    <a:lnTo>
                      <a:pt x="460" y="160"/>
                    </a:lnTo>
                    <a:lnTo>
                      <a:pt x="455" y="165"/>
                    </a:lnTo>
                    <a:lnTo>
                      <a:pt x="446" y="165"/>
                    </a:lnTo>
                    <a:lnTo>
                      <a:pt x="436" y="171"/>
                    </a:lnTo>
                    <a:lnTo>
                      <a:pt x="431" y="176"/>
                    </a:lnTo>
                    <a:lnTo>
                      <a:pt x="402" y="165"/>
                    </a:lnTo>
                    <a:lnTo>
                      <a:pt x="379" y="160"/>
                    </a:lnTo>
                    <a:lnTo>
                      <a:pt x="350" y="155"/>
                    </a:lnTo>
                    <a:lnTo>
                      <a:pt x="326" y="149"/>
                    </a:lnTo>
                    <a:lnTo>
                      <a:pt x="297" y="144"/>
                    </a:lnTo>
                    <a:lnTo>
                      <a:pt x="268" y="139"/>
                    </a:lnTo>
                    <a:lnTo>
                      <a:pt x="244" y="128"/>
                    </a:lnTo>
                    <a:lnTo>
                      <a:pt x="216" y="123"/>
                    </a:lnTo>
                    <a:lnTo>
                      <a:pt x="187" y="117"/>
                    </a:lnTo>
                    <a:lnTo>
                      <a:pt x="163" y="112"/>
                    </a:lnTo>
                    <a:lnTo>
                      <a:pt x="134" y="101"/>
                    </a:lnTo>
                    <a:lnTo>
                      <a:pt x="105" y="96"/>
                    </a:lnTo>
                    <a:lnTo>
                      <a:pt x="81" y="91"/>
                    </a:lnTo>
                    <a:lnTo>
                      <a:pt x="53" y="85"/>
                    </a:lnTo>
                    <a:lnTo>
                      <a:pt x="24" y="75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8" name="Freeform 28">
                <a:extLst>
                  <a:ext uri="{FF2B5EF4-FFF2-40B4-BE49-F238E27FC236}">
                    <a16:creationId xmlns:a16="http://schemas.microsoft.com/office/drawing/2014/main" id="{21DA6345-1E45-F8D0-97C8-199EAF80ACF3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auto">
              <a:xfrm>
                <a:off x="2050" y="2384"/>
                <a:ext cx="53" cy="21"/>
              </a:xfrm>
              <a:custGeom>
                <a:avLst/>
                <a:gdLst>
                  <a:gd name="T0" fmla="*/ 53 w 53"/>
                  <a:gd name="T1" fmla="*/ 16 h 21"/>
                  <a:gd name="T2" fmla="*/ 43 w 53"/>
                  <a:gd name="T3" fmla="*/ 21 h 21"/>
                  <a:gd name="T4" fmla="*/ 38 w 53"/>
                  <a:gd name="T5" fmla="*/ 16 h 21"/>
                  <a:gd name="T6" fmla="*/ 34 w 53"/>
                  <a:gd name="T7" fmla="*/ 16 h 21"/>
                  <a:gd name="T8" fmla="*/ 29 w 53"/>
                  <a:gd name="T9" fmla="*/ 16 h 21"/>
                  <a:gd name="T10" fmla="*/ 19 w 53"/>
                  <a:gd name="T11" fmla="*/ 10 h 21"/>
                  <a:gd name="T12" fmla="*/ 14 w 53"/>
                  <a:gd name="T13" fmla="*/ 10 h 21"/>
                  <a:gd name="T14" fmla="*/ 10 w 53"/>
                  <a:gd name="T15" fmla="*/ 5 h 21"/>
                  <a:gd name="T16" fmla="*/ 0 w 53"/>
                  <a:gd name="T17" fmla="*/ 5 h 21"/>
                  <a:gd name="T18" fmla="*/ 5 w 53"/>
                  <a:gd name="T19" fmla="*/ 0 h 21"/>
                  <a:gd name="T20" fmla="*/ 10 w 53"/>
                  <a:gd name="T21" fmla="*/ 0 h 21"/>
                  <a:gd name="T22" fmla="*/ 14 w 53"/>
                  <a:gd name="T23" fmla="*/ 0 h 21"/>
                  <a:gd name="T24" fmla="*/ 19 w 53"/>
                  <a:gd name="T25" fmla="*/ 0 h 21"/>
                  <a:gd name="T26" fmla="*/ 24 w 53"/>
                  <a:gd name="T27" fmla="*/ 0 h 21"/>
                  <a:gd name="T28" fmla="*/ 29 w 53"/>
                  <a:gd name="T29" fmla="*/ 0 h 21"/>
                  <a:gd name="T30" fmla="*/ 34 w 53"/>
                  <a:gd name="T31" fmla="*/ 0 h 21"/>
                  <a:gd name="T32" fmla="*/ 38 w 53"/>
                  <a:gd name="T33" fmla="*/ 5 h 21"/>
                  <a:gd name="T34" fmla="*/ 43 w 53"/>
                  <a:gd name="T35" fmla="*/ 5 h 21"/>
                  <a:gd name="T36" fmla="*/ 48 w 53"/>
                  <a:gd name="T37" fmla="*/ 5 h 21"/>
                  <a:gd name="T38" fmla="*/ 53 w 53"/>
                  <a:gd name="T39" fmla="*/ 10 h 21"/>
                  <a:gd name="T40" fmla="*/ 53 w 53"/>
                  <a:gd name="T41" fmla="*/ 1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3" h="21">
                    <a:moveTo>
                      <a:pt x="53" y="16"/>
                    </a:moveTo>
                    <a:lnTo>
                      <a:pt x="43" y="21"/>
                    </a:lnTo>
                    <a:lnTo>
                      <a:pt x="38" y="16"/>
                    </a:lnTo>
                    <a:lnTo>
                      <a:pt x="34" y="16"/>
                    </a:lnTo>
                    <a:lnTo>
                      <a:pt x="29" y="16"/>
                    </a:lnTo>
                    <a:lnTo>
                      <a:pt x="19" y="10"/>
                    </a:lnTo>
                    <a:lnTo>
                      <a:pt x="14" y="1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5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53" y="10"/>
                    </a:lnTo>
                    <a:lnTo>
                      <a:pt x="53" y="1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09" name="Freeform 29">
                <a:extLst>
                  <a:ext uri="{FF2B5EF4-FFF2-40B4-BE49-F238E27FC236}">
                    <a16:creationId xmlns:a16="http://schemas.microsoft.com/office/drawing/2014/main" id="{D597C5C0-EBFD-A6AA-F1C5-BDC658D4C811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auto">
              <a:xfrm>
                <a:off x="2151" y="2405"/>
                <a:ext cx="910" cy="219"/>
              </a:xfrm>
              <a:custGeom>
                <a:avLst/>
                <a:gdLst>
                  <a:gd name="T0" fmla="*/ 910 w 910"/>
                  <a:gd name="T1" fmla="*/ 219 h 219"/>
                  <a:gd name="T2" fmla="*/ 853 w 910"/>
                  <a:gd name="T3" fmla="*/ 208 h 219"/>
                  <a:gd name="T4" fmla="*/ 795 w 910"/>
                  <a:gd name="T5" fmla="*/ 197 h 219"/>
                  <a:gd name="T6" fmla="*/ 743 w 910"/>
                  <a:gd name="T7" fmla="*/ 181 h 219"/>
                  <a:gd name="T8" fmla="*/ 685 w 910"/>
                  <a:gd name="T9" fmla="*/ 171 h 219"/>
                  <a:gd name="T10" fmla="*/ 627 w 910"/>
                  <a:gd name="T11" fmla="*/ 160 h 219"/>
                  <a:gd name="T12" fmla="*/ 570 w 910"/>
                  <a:gd name="T13" fmla="*/ 144 h 219"/>
                  <a:gd name="T14" fmla="*/ 512 w 910"/>
                  <a:gd name="T15" fmla="*/ 128 h 219"/>
                  <a:gd name="T16" fmla="*/ 455 w 910"/>
                  <a:gd name="T17" fmla="*/ 117 h 219"/>
                  <a:gd name="T18" fmla="*/ 402 w 910"/>
                  <a:gd name="T19" fmla="*/ 101 h 219"/>
                  <a:gd name="T20" fmla="*/ 345 w 910"/>
                  <a:gd name="T21" fmla="*/ 85 h 219"/>
                  <a:gd name="T22" fmla="*/ 287 w 910"/>
                  <a:gd name="T23" fmla="*/ 75 h 219"/>
                  <a:gd name="T24" fmla="*/ 230 w 910"/>
                  <a:gd name="T25" fmla="*/ 59 h 219"/>
                  <a:gd name="T26" fmla="*/ 172 w 910"/>
                  <a:gd name="T27" fmla="*/ 48 h 219"/>
                  <a:gd name="T28" fmla="*/ 115 w 910"/>
                  <a:gd name="T29" fmla="*/ 32 h 219"/>
                  <a:gd name="T30" fmla="*/ 57 w 910"/>
                  <a:gd name="T31" fmla="*/ 21 h 219"/>
                  <a:gd name="T32" fmla="*/ 0 w 910"/>
                  <a:gd name="T33" fmla="*/ 11 h 219"/>
                  <a:gd name="T34" fmla="*/ 24 w 910"/>
                  <a:gd name="T35" fmla="*/ 5 h 219"/>
                  <a:gd name="T36" fmla="*/ 81 w 910"/>
                  <a:gd name="T37" fmla="*/ 16 h 219"/>
                  <a:gd name="T38" fmla="*/ 134 w 910"/>
                  <a:gd name="T39" fmla="*/ 27 h 219"/>
                  <a:gd name="T40" fmla="*/ 191 w 910"/>
                  <a:gd name="T41" fmla="*/ 43 h 219"/>
                  <a:gd name="T42" fmla="*/ 249 w 910"/>
                  <a:gd name="T43" fmla="*/ 53 h 219"/>
                  <a:gd name="T44" fmla="*/ 306 w 910"/>
                  <a:gd name="T45" fmla="*/ 69 h 219"/>
                  <a:gd name="T46" fmla="*/ 364 w 910"/>
                  <a:gd name="T47" fmla="*/ 80 h 219"/>
                  <a:gd name="T48" fmla="*/ 421 w 910"/>
                  <a:gd name="T49" fmla="*/ 96 h 219"/>
                  <a:gd name="T50" fmla="*/ 479 w 910"/>
                  <a:gd name="T51" fmla="*/ 107 h 219"/>
                  <a:gd name="T52" fmla="*/ 541 w 910"/>
                  <a:gd name="T53" fmla="*/ 123 h 219"/>
                  <a:gd name="T54" fmla="*/ 599 w 910"/>
                  <a:gd name="T55" fmla="*/ 139 h 219"/>
                  <a:gd name="T56" fmla="*/ 656 w 910"/>
                  <a:gd name="T57" fmla="*/ 149 h 219"/>
                  <a:gd name="T58" fmla="*/ 714 w 910"/>
                  <a:gd name="T59" fmla="*/ 165 h 219"/>
                  <a:gd name="T60" fmla="*/ 771 w 910"/>
                  <a:gd name="T61" fmla="*/ 176 h 219"/>
                  <a:gd name="T62" fmla="*/ 824 w 910"/>
                  <a:gd name="T63" fmla="*/ 192 h 219"/>
                  <a:gd name="T64" fmla="*/ 881 w 910"/>
                  <a:gd name="T65" fmla="*/ 20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0" h="219">
                    <a:moveTo>
                      <a:pt x="910" y="213"/>
                    </a:moveTo>
                    <a:lnTo>
                      <a:pt x="910" y="219"/>
                    </a:lnTo>
                    <a:lnTo>
                      <a:pt x="881" y="213"/>
                    </a:lnTo>
                    <a:lnTo>
                      <a:pt x="853" y="208"/>
                    </a:lnTo>
                    <a:lnTo>
                      <a:pt x="824" y="203"/>
                    </a:lnTo>
                    <a:lnTo>
                      <a:pt x="795" y="197"/>
                    </a:lnTo>
                    <a:lnTo>
                      <a:pt x="771" y="192"/>
                    </a:lnTo>
                    <a:lnTo>
                      <a:pt x="743" y="181"/>
                    </a:lnTo>
                    <a:lnTo>
                      <a:pt x="714" y="176"/>
                    </a:lnTo>
                    <a:lnTo>
                      <a:pt x="685" y="171"/>
                    </a:lnTo>
                    <a:lnTo>
                      <a:pt x="656" y="165"/>
                    </a:lnTo>
                    <a:lnTo>
                      <a:pt x="627" y="160"/>
                    </a:lnTo>
                    <a:lnTo>
                      <a:pt x="599" y="149"/>
                    </a:lnTo>
                    <a:lnTo>
                      <a:pt x="570" y="144"/>
                    </a:lnTo>
                    <a:lnTo>
                      <a:pt x="541" y="139"/>
                    </a:lnTo>
                    <a:lnTo>
                      <a:pt x="512" y="128"/>
                    </a:lnTo>
                    <a:lnTo>
                      <a:pt x="484" y="123"/>
                    </a:lnTo>
                    <a:lnTo>
                      <a:pt x="455" y="117"/>
                    </a:lnTo>
                    <a:lnTo>
                      <a:pt x="431" y="107"/>
                    </a:lnTo>
                    <a:lnTo>
                      <a:pt x="402" y="101"/>
                    </a:lnTo>
                    <a:lnTo>
                      <a:pt x="374" y="96"/>
                    </a:lnTo>
                    <a:lnTo>
                      <a:pt x="345" y="85"/>
                    </a:lnTo>
                    <a:lnTo>
                      <a:pt x="316" y="80"/>
                    </a:lnTo>
                    <a:lnTo>
                      <a:pt x="287" y="75"/>
                    </a:lnTo>
                    <a:lnTo>
                      <a:pt x="259" y="69"/>
                    </a:lnTo>
                    <a:lnTo>
                      <a:pt x="230" y="59"/>
                    </a:lnTo>
                    <a:lnTo>
                      <a:pt x="201" y="53"/>
                    </a:lnTo>
                    <a:lnTo>
                      <a:pt x="172" y="48"/>
                    </a:lnTo>
                    <a:lnTo>
                      <a:pt x="143" y="43"/>
                    </a:lnTo>
                    <a:lnTo>
                      <a:pt x="115" y="32"/>
                    </a:lnTo>
                    <a:lnTo>
                      <a:pt x="86" y="27"/>
                    </a:lnTo>
                    <a:lnTo>
                      <a:pt x="57" y="21"/>
                    </a:lnTo>
                    <a:lnTo>
                      <a:pt x="28" y="16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24" y="5"/>
                    </a:lnTo>
                    <a:lnTo>
                      <a:pt x="52" y="11"/>
                    </a:lnTo>
                    <a:lnTo>
                      <a:pt x="81" y="16"/>
                    </a:lnTo>
                    <a:lnTo>
                      <a:pt x="105" y="21"/>
                    </a:lnTo>
                    <a:lnTo>
                      <a:pt x="134" y="27"/>
                    </a:lnTo>
                    <a:lnTo>
                      <a:pt x="163" y="37"/>
                    </a:lnTo>
                    <a:lnTo>
                      <a:pt x="191" y="43"/>
                    </a:lnTo>
                    <a:lnTo>
                      <a:pt x="220" y="48"/>
                    </a:lnTo>
                    <a:lnTo>
                      <a:pt x="249" y="53"/>
                    </a:lnTo>
                    <a:lnTo>
                      <a:pt x="278" y="64"/>
                    </a:lnTo>
                    <a:lnTo>
                      <a:pt x="306" y="69"/>
                    </a:lnTo>
                    <a:lnTo>
                      <a:pt x="335" y="75"/>
                    </a:lnTo>
                    <a:lnTo>
                      <a:pt x="364" y="80"/>
                    </a:lnTo>
                    <a:lnTo>
                      <a:pt x="393" y="91"/>
                    </a:lnTo>
                    <a:lnTo>
                      <a:pt x="421" y="96"/>
                    </a:lnTo>
                    <a:lnTo>
                      <a:pt x="450" y="101"/>
                    </a:lnTo>
                    <a:lnTo>
                      <a:pt x="479" y="107"/>
                    </a:lnTo>
                    <a:lnTo>
                      <a:pt x="508" y="117"/>
                    </a:lnTo>
                    <a:lnTo>
                      <a:pt x="541" y="123"/>
                    </a:lnTo>
                    <a:lnTo>
                      <a:pt x="570" y="128"/>
                    </a:lnTo>
                    <a:lnTo>
                      <a:pt x="599" y="139"/>
                    </a:lnTo>
                    <a:lnTo>
                      <a:pt x="627" y="144"/>
                    </a:lnTo>
                    <a:lnTo>
                      <a:pt x="656" y="149"/>
                    </a:lnTo>
                    <a:lnTo>
                      <a:pt x="685" y="160"/>
                    </a:lnTo>
                    <a:lnTo>
                      <a:pt x="714" y="165"/>
                    </a:lnTo>
                    <a:lnTo>
                      <a:pt x="743" y="171"/>
                    </a:lnTo>
                    <a:lnTo>
                      <a:pt x="771" y="176"/>
                    </a:lnTo>
                    <a:lnTo>
                      <a:pt x="795" y="187"/>
                    </a:lnTo>
                    <a:lnTo>
                      <a:pt x="824" y="192"/>
                    </a:lnTo>
                    <a:lnTo>
                      <a:pt x="853" y="197"/>
                    </a:lnTo>
                    <a:lnTo>
                      <a:pt x="881" y="208"/>
                    </a:lnTo>
                    <a:lnTo>
                      <a:pt x="910" y="213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0" name="Freeform 30">
                <a:extLst>
                  <a:ext uri="{FF2B5EF4-FFF2-40B4-BE49-F238E27FC236}">
                    <a16:creationId xmlns:a16="http://schemas.microsoft.com/office/drawing/2014/main" id="{44D4B438-3945-46D0-C55A-5DA84DB6C1E9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auto">
              <a:xfrm>
                <a:off x="3047" y="2464"/>
                <a:ext cx="33" cy="533"/>
              </a:xfrm>
              <a:custGeom>
                <a:avLst/>
                <a:gdLst>
                  <a:gd name="T0" fmla="*/ 33 w 33"/>
                  <a:gd name="T1" fmla="*/ 0 h 533"/>
                  <a:gd name="T2" fmla="*/ 14 w 33"/>
                  <a:gd name="T3" fmla="*/ 528 h 533"/>
                  <a:gd name="T4" fmla="*/ 0 w 33"/>
                  <a:gd name="T5" fmla="*/ 533 h 533"/>
                  <a:gd name="T6" fmla="*/ 24 w 33"/>
                  <a:gd name="T7" fmla="*/ 5 h 533"/>
                  <a:gd name="T8" fmla="*/ 33 w 33"/>
                  <a:gd name="T9" fmla="*/ 0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33">
                    <a:moveTo>
                      <a:pt x="33" y="0"/>
                    </a:moveTo>
                    <a:lnTo>
                      <a:pt x="14" y="528"/>
                    </a:lnTo>
                    <a:lnTo>
                      <a:pt x="0" y="533"/>
                    </a:lnTo>
                    <a:lnTo>
                      <a:pt x="24" y="5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1" name="Freeform 31">
                <a:extLst>
                  <a:ext uri="{FF2B5EF4-FFF2-40B4-BE49-F238E27FC236}">
                    <a16:creationId xmlns:a16="http://schemas.microsoft.com/office/drawing/2014/main" id="{A494A644-8F2F-F6D1-303A-0919C64A1E79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auto">
              <a:xfrm>
                <a:off x="3066" y="2464"/>
                <a:ext cx="34" cy="528"/>
              </a:xfrm>
              <a:custGeom>
                <a:avLst/>
                <a:gdLst>
                  <a:gd name="T0" fmla="*/ 34 w 34"/>
                  <a:gd name="T1" fmla="*/ 10 h 528"/>
                  <a:gd name="T2" fmla="*/ 29 w 34"/>
                  <a:gd name="T3" fmla="*/ 144 h 528"/>
                  <a:gd name="T4" fmla="*/ 24 w 34"/>
                  <a:gd name="T5" fmla="*/ 266 h 528"/>
                  <a:gd name="T6" fmla="*/ 24 w 34"/>
                  <a:gd name="T7" fmla="*/ 400 h 528"/>
                  <a:gd name="T8" fmla="*/ 24 w 34"/>
                  <a:gd name="T9" fmla="*/ 528 h 528"/>
                  <a:gd name="T10" fmla="*/ 24 w 34"/>
                  <a:gd name="T11" fmla="*/ 528 h 528"/>
                  <a:gd name="T12" fmla="*/ 19 w 34"/>
                  <a:gd name="T13" fmla="*/ 528 h 528"/>
                  <a:gd name="T14" fmla="*/ 14 w 34"/>
                  <a:gd name="T15" fmla="*/ 528 h 528"/>
                  <a:gd name="T16" fmla="*/ 14 w 34"/>
                  <a:gd name="T17" fmla="*/ 528 h 528"/>
                  <a:gd name="T18" fmla="*/ 10 w 34"/>
                  <a:gd name="T19" fmla="*/ 528 h 528"/>
                  <a:gd name="T20" fmla="*/ 10 w 34"/>
                  <a:gd name="T21" fmla="*/ 528 h 528"/>
                  <a:gd name="T22" fmla="*/ 5 w 34"/>
                  <a:gd name="T23" fmla="*/ 528 h 528"/>
                  <a:gd name="T24" fmla="*/ 0 w 34"/>
                  <a:gd name="T25" fmla="*/ 528 h 528"/>
                  <a:gd name="T26" fmla="*/ 5 w 34"/>
                  <a:gd name="T27" fmla="*/ 400 h 528"/>
                  <a:gd name="T28" fmla="*/ 10 w 34"/>
                  <a:gd name="T29" fmla="*/ 266 h 528"/>
                  <a:gd name="T30" fmla="*/ 14 w 34"/>
                  <a:gd name="T31" fmla="*/ 133 h 528"/>
                  <a:gd name="T32" fmla="*/ 19 w 34"/>
                  <a:gd name="T33" fmla="*/ 0 h 528"/>
                  <a:gd name="T34" fmla="*/ 24 w 34"/>
                  <a:gd name="T35" fmla="*/ 5 h 528"/>
                  <a:gd name="T36" fmla="*/ 29 w 34"/>
                  <a:gd name="T37" fmla="*/ 5 h 528"/>
                  <a:gd name="T38" fmla="*/ 29 w 34"/>
                  <a:gd name="T39" fmla="*/ 10 h 528"/>
                  <a:gd name="T40" fmla="*/ 34 w 34"/>
                  <a:gd name="T41" fmla="*/ 1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528">
                    <a:moveTo>
                      <a:pt x="34" y="10"/>
                    </a:moveTo>
                    <a:lnTo>
                      <a:pt x="29" y="144"/>
                    </a:lnTo>
                    <a:lnTo>
                      <a:pt x="24" y="266"/>
                    </a:lnTo>
                    <a:lnTo>
                      <a:pt x="24" y="400"/>
                    </a:lnTo>
                    <a:lnTo>
                      <a:pt x="24" y="528"/>
                    </a:lnTo>
                    <a:lnTo>
                      <a:pt x="24" y="528"/>
                    </a:lnTo>
                    <a:lnTo>
                      <a:pt x="19" y="528"/>
                    </a:lnTo>
                    <a:lnTo>
                      <a:pt x="14" y="528"/>
                    </a:lnTo>
                    <a:lnTo>
                      <a:pt x="14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5" y="528"/>
                    </a:lnTo>
                    <a:lnTo>
                      <a:pt x="0" y="528"/>
                    </a:lnTo>
                    <a:lnTo>
                      <a:pt x="5" y="400"/>
                    </a:lnTo>
                    <a:lnTo>
                      <a:pt x="10" y="266"/>
                    </a:lnTo>
                    <a:lnTo>
                      <a:pt x="14" y="133"/>
                    </a:lnTo>
                    <a:lnTo>
                      <a:pt x="19" y="0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2" name="Freeform 32">
                <a:extLst>
                  <a:ext uri="{FF2B5EF4-FFF2-40B4-BE49-F238E27FC236}">
                    <a16:creationId xmlns:a16="http://schemas.microsoft.com/office/drawing/2014/main" id="{19831E2A-1D05-D0B0-CE97-1EE985CD2692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auto">
              <a:xfrm>
                <a:off x="2817" y="2490"/>
                <a:ext cx="215" cy="86"/>
              </a:xfrm>
              <a:custGeom>
                <a:avLst/>
                <a:gdLst>
                  <a:gd name="T0" fmla="*/ 110 w 215"/>
                  <a:gd name="T1" fmla="*/ 86 h 86"/>
                  <a:gd name="T2" fmla="*/ 0 w 215"/>
                  <a:gd name="T3" fmla="*/ 59 h 86"/>
                  <a:gd name="T4" fmla="*/ 9 w 215"/>
                  <a:gd name="T5" fmla="*/ 59 h 86"/>
                  <a:gd name="T6" fmla="*/ 14 w 215"/>
                  <a:gd name="T7" fmla="*/ 54 h 86"/>
                  <a:gd name="T8" fmla="*/ 24 w 215"/>
                  <a:gd name="T9" fmla="*/ 48 h 86"/>
                  <a:gd name="T10" fmla="*/ 29 w 215"/>
                  <a:gd name="T11" fmla="*/ 48 h 86"/>
                  <a:gd name="T12" fmla="*/ 38 w 215"/>
                  <a:gd name="T13" fmla="*/ 43 h 86"/>
                  <a:gd name="T14" fmla="*/ 48 w 215"/>
                  <a:gd name="T15" fmla="*/ 38 h 86"/>
                  <a:gd name="T16" fmla="*/ 53 w 215"/>
                  <a:gd name="T17" fmla="*/ 32 h 86"/>
                  <a:gd name="T18" fmla="*/ 62 w 215"/>
                  <a:gd name="T19" fmla="*/ 32 h 86"/>
                  <a:gd name="T20" fmla="*/ 72 w 215"/>
                  <a:gd name="T21" fmla="*/ 27 h 86"/>
                  <a:gd name="T22" fmla="*/ 77 w 215"/>
                  <a:gd name="T23" fmla="*/ 22 h 86"/>
                  <a:gd name="T24" fmla="*/ 86 w 215"/>
                  <a:gd name="T25" fmla="*/ 22 h 86"/>
                  <a:gd name="T26" fmla="*/ 96 w 215"/>
                  <a:gd name="T27" fmla="*/ 16 h 86"/>
                  <a:gd name="T28" fmla="*/ 100 w 215"/>
                  <a:gd name="T29" fmla="*/ 11 h 86"/>
                  <a:gd name="T30" fmla="*/ 110 w 215"/>
                  <a:gd name="T31" fmla="*/ 6 h 86"/>
                  <a:gd name="T32" fmla="*/ 115 w 215"/>
                  <a:gd name="T33" fmla="*/ 6 h 86"/>
                  <a:gd name="T34" fmla="*/ 124 w 215"/>
                  <a:gd name="T35" fmla="*/ 0 h 86"/>
                  <a:gd name="T36" fmla="*/ 215 w 215"/>
                  <a:gd name="T37" fmla="*/ 27 h 86"/>
                  <a:gd name="T38" fmla="*/ 110 w 215"/>
                  <a:gd name="T3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5" h="86">
                    <a:moveTo>
                      <a:pt x="110" y="86"/>
                    </a:moveTo>
                    <a:lnTo>
                      <a:pt x="0" y="59"/>
                    </a:lnTo>
                    <a:lnTo>
                      <a:pt x="9" y="59"/>
                    </a:lnTo>
                    <a:lnTo>
                      <a:pt x="14" y="54"/>
                    </a:lnTo>
                    <a:lnTo>
                      <a:pt x="24" y="48"/>
                    </a:lnTo>
                    <a:lnTo>
                      <a:pt x="29" y="48"/>
                    </a:lnTo>
                    <a:lnTo>
                      <a:pt x="38" y="43"/>
                    </a:lnTo>
                    <a:lnTo>
                      <a:pt x="48" y="38"/>
                    </a:lnTo>
                    <a:lnTo>
                      <a:pt x="53" y="32"/>
                    </a:lnTo>
                    <a:lnTo>
                      <a:pt x="62" y="32"/>
                    </a:lnTo>
                    <a:lnTo>
                      <a:pt x="72" y="27"/>
                    </a:lnTo>
                    <a:lnTo>
                      <a:pt x="77" y="22"/>
                    </a:lnTo>
                    <a:lnTo>
                      <a:pt x="86" y="22"/>
                    </a:lnTo>
                    <a:lnTo>
                      <a:pt x="96" y="16"/>
                    </a:lnTo>
                    <a:lnTo>
                      <a:pt x="100" y="11"/>
                    </a:lnTo>
                    <a:lnTo>
                      <a:pt x="110" y="6"/>
                    </a:lnTo>
                    <a:lnTo>
                      <a:pt x="115" y="6"/>
                    </a:lnTo>
                    <a:lnTo>
                      <a:pt x="124" y="0"/>
                    </a:lnTo>
                    <a:lnTo>
                      <a:pt x="215" y="27"/>
                    </a:lnTo>
                    <a:lnTo>
                      <a:pt x="110" y="8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3" name="Freeform 33">
                <a:extLst>
                  <a:ext uri="{FF2B5EF4-FFF2-40B4-BE49-F238E27FC236}">
                    <a16:creationId xmlns:a16="http://schemas.microsoft.com/office/drawing/2014/main" id="{9CF4725E-D449-B40D-6C27-12D2DE99A38D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auto">
              <a:xfrm>
                <a:off x="2937" y="2522"/>
                <a:ext cx="129" cy="86"/>
              </a:xfrm>
              <a:custGeom>
                <a:avLst/>
                <a:gdLst>
                  <a:gd name="T0" fmla="*/ 129 w 129"/>
                  <a:gd name="T1" fmla="*/ 6 h 86"/>
                  <a:gd name="T2" fmla="*/ 124 w 129"/>
                  <a:gd name="T3" fmla="*/ 86 h 86"/>
                  <a:gd name="T4" fmla="*/ 115 w 129"/>
                  <a:gd name="T5" fmla="*/ 86 h 86"/>
                  <a:gd name="T6" fmla="*/ 105 w 129"/>
                  <a:gd name="T7" fmla="*/ 80 h 86"/>
                  <a:gd name="T8" fmla="*/ 100 w 129"/>
                  <a:gd name="T9" fmla="*/ 80 h 86"/>
                  <a:gd name="T10" fmla="*/ 91 w 129"/>
                  <a:gd name="T11" fmla="*/ 80 h 86"/>
                  <a:gd name="T12" fmla="*/ 86 w 129"/>
                  <a:gd name="T13" fmla="*/ 75 h 86"/>
                  <a:gd name="T14" fmla="*/ 76 w 129"/>
                  <a:gd name="T15" fmla="*/ 75 h 86"/>
                  <a:gd name="T16" fmla="*/ 72 w 129"/>
                  <a:gd name="T17" fmla="*/ 75 h 86"/>
                  <a:gd name="T18" fmla="*/ 62 w 129"/>
                  <a:gd name="T19" fmla="*/ 70 h 86"/>
                  <a:gd name="T20" fmla="*/ 52 w 129"/>
                  <a:gd name="T21" fmla="*/ 70 h 86"/>
                  <a:gd name="T22" fmla="*/ 48 w 129"/>
                  <a:gd name="T23" fmla="*/ 70 h 86"/>
                  <a:gd name="T24" fmla="*/ 38 w 129"/>
                  <a:gd name="T25" fmla="*/ 64 h 86"/>
                  <a:gd name="T26" fmla="*/ 33 w 129"/>
                  <a:gd name="T27" fmla="*/ 64 h 86"/>
                  <a:gd name="T28" fmla="*/ 24 w 129"/>
                  <a:gd name="T29" fmla="*/ 64 h 86"/>
                  <a:gd name="T30" fmla="*/ 14 w 129"/>
                  <a:gd name="T31" fmla="*/ 59 h 86"/>
                  <a:gd name="T32" fmla="*/ 9 w 129"/>
                  <a:gd name="T33" fmla="*/ 59 h 86"/>
                  <a:gd name="T34" fmla="*/ 0 w 129"/>
                  <a:gd name="T35" fmla="*/ 54 h 86"/>
                  <a:gd name="T36" fmla="*/ 14 w 129"/>
                  <a:gd name="T37" fmla="*/ 48 h 86"/>
                  <a:gd name="T38" fmla="*/ 24 w 129"/>
                  <a:gd name="T39" fmla="*/ 43 h 86"/>
                  <a:gd name="T40" fmla="*/ 38 w 129"/>
                  <a:gd name="T41" fmla="*/ 32 h 86"/>
                  <a:gd name="T42" fmla="*/ 52 w 129"/>
                  <a:gd name="T43" fmla="*/ 27 h 86"/>
                  <a:gd name="T44" fmla="*/ 62 w 129"/>
                  <a:gd name="T45" fmla="*/ 22 h 86"/>
                  <a:gd name="T46" fmla="*/ 76 w 129"/>
                  <a:gd name="T47" fmla="*/ 16 h 86"/>
                  <a:gd name="T48" fmla="*/ 91 w 129"/>
                  <a:gd name="T49" fmla="*/ 6 h 86"/>
                  <a:gd name="T50" fmla="*/ 105 w 129"/>
                  <a:gd name="T51" fmla="*/ 0 h 86"/>
                  <a:gd name="T52" fmla="*/ 105 w 129"/>
                  <a:gd name="T53" fmla="*/ 0 h 86"/>
                  <a:gd name="T54" fmla="*/ 110 w 129"/>
                  <a:gd name="T55" fmla="*/ 0 h 86"/>
                  <a:gd name="T56" fmla="*/ 115 w 129"/>
                  <a:gd name="T57" fmla="*/ 0 h 86"/>
                  <a:gd name="T58" fmla="*/ 115 w 129"/>
                  <a:gd name="T59" fmla="*/ 0 h 86"/>
                  <a:gd name="T60" fmla="*/ 119 w 129"/>
                  <a:gd name="T61" fmla="*/ 6 h 86"/>
                  <a:gd name="T62" fmla="*/ 119 w 129"/>
                  <a:gd name="T63" fmla="*/ 6 h 86"/>
                  <a:gd name="T64" fmla="*/ 124 w 129"/>
                  <a:gd name="T65" fmla="*/ 6 h 86"/>
                  <a:gd name="T66" fmla="*/ 129 w 129"/>
                  <a:gd name="T67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" h="86">
                    <a:moveTo>
                      <a:pt x="129" y="6"/>
                    </a:moveTo>
                    <a:lnTo>
                      <a:pt x="124" y="86"/>
                    </a:lnTo>
                    <a:lnTo>
                      <a:pt x="115" y="86"/>
                    </a:lnTo>
                    <a:lnTo>
                      <a:pt x="105" y="80"/>
                    </a:lnTo>
                    <a:lnTo>
                      <a:pt x="100" y="80"/>
                    </a:lnTo>
                    <a:lnTo>
                      <a:pt x="91" y="80"/>
                    </a:lnTo>
                    <a:lnTo>
                      <a:pt x="86" y="75"/>
                    </a:lnTo>
                    <a:lnTo>
                      <a:pt x="76" y="75"/>
                    </a:lnTo>
                    <a:lnTo>
                      <a:pt x="72" y="75"/>
                    </a:lnTo>
                    <a:lnTo>
                      <a:pt x="6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38" y="64"/>
                    </a:lnTo>
                    <a:lnTo>
                      <a:pt x="33" y="64"/>
                    </a:lnTo>
                    <a:lnTo>
                      <a:pt x="24" y="64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0" y="54"/>
                    </a:lnTo>
                    <a:lnTo>
                      <a:pt x="14" y="48"/>
                    </a:lnTo>
                    <a:lnTo>
                      <a:pt x="24" y="43"/>
                    </a:lnTo>
                    <a:lnTo>
                      <a:pt x="38" y="32"/>
                    </a:lnTo>
                    <a:lnTo>
                      <a:pt x="52" y="27"/>
                    </a:lnTo>
                    <a:lnTo>
                      <a:pt x="62" y="22"/>
                    </a:lnTo>
                    <a:lnTo>
                      <a:pt x="76" y="16"/>
                    </a:lnTo>
                    <a:lnTo>
                      <a:pt x="91" y="6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110" y="0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19" y="6"/>
                    </a:lnTo>
                    <a:lnTo>
                      <a:pt x="119" y="6"/>
                    </a:lnTo>
                    <a:lnTo>
                      <a:pt x="124" y="6"/>
                    </a:lnTo>
                    <a:lnTo>
                      <a:pt x="12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4" name="Freeform 34">
                <a:extLst>
                  <a:ext uri="{FF2B5EF4-FFF2-40B4-BE49-F238E27FC236}">
                    <a16:creationId xmlns:a16="http://schemas.microsoft.com/office/drawing/2014/main" id="{225A8FAC-C238-7699-2C91-23736F34EE50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auto">
              <a:xfrm>
                <a:off x="3100" y="2538"/>
                <a:ext cx="19" cy="86"/>
              </a:xfrm>
              <a:custGeom>
                <a:avLst/>
                <a:gdLst>
                  <a:gd name="T0" fmla="*/ 19 w 19"/>
                  <a:gd name="T1" fmla="*/ 6 h 86"/>
                  <a:gd name="T2" fmla="*/ 19 w 19"/>
                  <a:gd name="T3" fmla="*/ 27 h 86"/>
                  <a:gd name="T4" fmla="*/ 19 w 19"/>
                  <a:gd name="T5" fmla="*/ 48 h 86"/>
                  <a:gd name="T6" fmla="*/ 19 w 19"/>
                  <a:gd name="T7" fmla="*/ 64 h 86"/>
                  <a:gd name="T8" fmla="*/ 14 w 19"/>
                  <a:gd name="T9" fmla="*/ 86 h 86"/>
                  <a:gd name="T10" fmla="*/ 9 w 19"/>
                  <a:gd name="T11" fmla="*/ 86 h 86"/>
                  <a:gd name="T12" fmla="*/ 4 w 19"/>
                  <a:gd name="T13" fmla="*/ 80 h 86"/>
                  <a:gd name="T14" fmla="*/ 4 w 19"/>
                  <a:gd name="T15" fmla="*/ 80 h 86"/>
                  <a:gd name="T16" fmla="*/ 0 w 19"/>
                  <a:gd name="T17" fmla="*/ 75 h 86"/>
                  <a:gd name="T18" fmla="*/ 4 w 19"/>
                  <a:gd name="T19" fmla="*/ 64 h 86"/>
                  <a:gd name="T20" fmla="*/ 4 w 19"/>
                  <a:gd name="T21" fmla="*/ 43 h 86"/>
                  <a:gd name="T22" fmla="*/ 4 w 19"/>
                  <a:gd name="T23" fmla="*/ 22 h 86"/>
                  <a:gd name="T24" fmla="*/ 4 w 19"/>
                  <a:gd name="T25" fmla="*/ 0 h 86"/>
                  <a:gd name="T26" fmla="*/ 9 w 19"/>
                  <a:gd name="T27" fmla="*/ 0 h 86"/>
                  <a:gd name="T28" fmla="*/ 14 w 19"/>
                  <a:gd name="T29" fmla="*/ 0 h 86"/>
                  <a:gd name="T30" fmla="*/ 19 w 19"/>
                  <a:gd name="T31" fmla="*/ 6 h 86"/>
                  <a:gd name="T32" fmla="*/ 19 w 19"/>
                  <a:gd name="T33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86">
                    <a:moveTo>
                      <a:pt x="19" y="6"/>
                    </a:moveTo>
                    <a:lnTo>
                      <a:pt x="19" y="27"/>
                    </a:lnTo>
                    <a:lnTo>
                      <a:pt x="19" y="48"/>
                    </a:lnTo>
                    <a:lnTo>
                      <a:pt x="19" y="64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0" y="75"/>
                    </a:lnTo>
                    <a:lnTo>
                      <a:pt x="4" y="64"/>
                    </a:lnTo>
                    <a:lnTo>
                      <a:pt x="4" y="43"/>
                    </a:lnTo>
                    <a:lnTo>
                      <a:pt x="4" y="2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9" y="6"/>
                    </a:lnTo>
                    <a:lnTo>
                      <a:pt x="1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5" name="Freeform 35">
                <a:extLst>
                  <a:ext uri="{FF2B5EF4-FFF2-40B4-BE49-F238E27FC236}">
                    <a16:creationId xmlns:a16="http://schemas.microsoft.com/office/drawing/2014/main" id="{939EC8BE-B3F3-F78F-7BFC-F9A0B370706E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auto">
              <a:xfrm>
                <a:off x="2041" y="2688"/>
                <a:ext cx="23" cy="149"/>
              </a:xfrm>
              <a:custGeom>
                <a:avLst/>
                <a:gdLst>
                  <a:gd name="T0" fmla="*/ 23 w 23"/>
                  <a:gd name="T1" fmla="*/ 144 h 149"/>
                  <a:gd name="T2" fmla="*/ 19 w 23"/>
                  <a:gd name="T3" fmla="*/ 149 h 149"/>
                  <a:gd name="T4" fmla="*/ 19 w 23"/>
                  <a:gd name="T5" fmla="*/ 149 h 149"/>
                  <a:gd name="T6" fmla="*/ 14 w 23"/>
                  <a:gd name="T7" fmla="*/ 149 h 149"/>
                  <a:gd name="T8" fmla="*/ 9 w 23"/>
                  <a:gd name="T9" fmla="*/ 149 h 149"/>
                  <a:gd name="T10" fmla="*/ 9 w 23"/>
                  <a:gd name="T11" fmla="*/ 149 h 149"/>
                  <a:gd name="T12" fmla="*/ 4 w 23"/>
                  <a:gd name="T13" fmla="*/ 149 h 149"/>
                  <a:gd name="T14" fmla="*/ 0 w 23"/>
                  <a:gd name="T15" fmla="*/ 149 h 149"/>
                  <a:gd name="T16" fmla="*/ 0 w 23"/>
                  <a:gd name="T17" fmla="*/ 149 h 149"/>
                  <a:gd name="T18" fmla="*/ 0 w 23"/>
                  <a:gd name="T19" fmla="*/ 117 h 149"/>
                  <a:gd name="T20" fmla="*/ 0 w 23"/>
                  <a:gd name="T21" fmla="*/ 85 h 149"/>
                  <a:gd name="T22" fmla="*/ 0 w 23"/>
                  <a:gd name="T23" fmla="*/ 48 h 149"/>
                  <a:gd name="T24" fmla="*/ 0 w 23"/>
                  <a:gd name="T25" fmla="*/ 16 h 149"/>
                  <a:gd name="T26" fmla="*/ 4 w 23"/>
                  <a:gd name="T27" fmla="*/ 10 h 149"/>
                  <a:gd name="T28" fmla="*/ 4 w 23"/>
                  <a:gd name="T29" fmla="*/ 10 h 149"/>
                  <a:gd name="T30" fmla="*/ 9 w 23"/>
                  <a:gd name="T31" fmla="*/ 10 h 149"/>
                  <a:gd name="T32" fmla="*/ 9 w 23"/>
                  <a:gd name="T33" fmla="*/ 10 h 149"/>
                  <a:gd name="T34" fmla="*/ 14 w 23"/>
                  <a:gd name="T35" fmla="*/ 5 h 149"/>
                  <a:gd name="T36" fmla="*/ 19 w 23"/>
                  <a:gd name="T37" fmla="*/ 5 h 149"/>
                  <a:gd name="T38" fmla="*/ 19 w 23"/>
                  <a:gd name="T39" fmla="*/ 5 h 149"/>
                  <a:gd name="T40" fmla="*/ 23 w 23"/>
                  <a:gd name="T41" fmla="*/ 0 h 149"/>
                  <a:gd name="T42" fmla="*/ 23 w 23"/>
                  <a:gd name="T43" fmla="*/ 14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49">
                    <a:moveTo>
                      <a:pt x="23" y="144"/>
                    </a:moveTo>
                    <a:lnTo>
                      <a:pt x="19" y="149"/>
                    </a:lnTo>
                    <a:lnTo>
                      <a:pt x="19" y="149"/>
                    </a:lnTo>
                    <a:lnTo>
                      <a:pt x="14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4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17"/>
                    </a:lnTo>
                    <a:lnTo>
                      <a:pt x="0" y="85"/>
                    </a:lnTo>
                    <a:lnTo>
                      <a:pt x="0" y="48"/>
                    </a:lnTo>
                    <a:lnTo>
                      <a:pt x="0" y="1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4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23" y="0"/>
                    </a:lnTo>
                    <a:lnTo>
                      <a:pt x="23" y="144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6" name="Freeform 36">
                <a:extLst>
                  <a:ext uri="{FF2B5EF4-FFF2-40B4-BE49-F238E27FC236}">
                    <a16:creationId xmlns:a16="http://schemas.microsoft.com/office/drawing/2014/main" id="{C736D649-A9F3-56C4-DFBA-A5E3A75AC5B1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auto">
              <a:xfrm>
                <a:off x="2064" y="2688"/>
                <a:ext cx="39" cy="144"/>
              </a:xfrm>
              <a:custGeom>
                <a:avLst/>
                <a:gdLst>
                  <a:gd name="T0" fmla="*/ 39 w 39"/>
                  <a:gd name="T1" fmla="*/ 144 h 144"/>
                  <a:gd name="T2" fmla="*/ 34 w 39"/>
                  <a:gd name="T3" fmla="*/ 144 h 144"/>
                  <a:gd name="T4" fmla="*/ 29 w 39"/>
                  <a:gd name="T5" fmla="*/ 144 h 144"/>
                  <a:gd name="T6" fmla="*/ 24 w 39"/>
                  <a:gd name="T7" fmla="*/ 144 h 144"/>
                  <a:gd name="T8" fmla="*/ 20 w 39"/>
                  <a:gd name="T9" fmla="*/ 144 h 144"/>
                  <a:gd name="T10" fmla="*/ 15 w 39"/>
                  <a:gd name="T11" fmla="*/ 144 h 144"/>
                  <a:gd name="T12" fmla="*/ 10 w 39"/>
                  <a:gd name="T13" fmla="*/ 144 h 144"/>
                  <a:gd name="T14" fmla="*/ 5 w 39"/>
                  <a:gd name="T15" fmla="*/ 144 h 144"/>
                  <a:gd name="T16" fmla="*/ 0 w 39"/>
                  <a:gd name="T17" fmla="*/ 138 h 144"/>
                  <a:gd name="T18" fmla="*/ 0 w 39"/>
                  <a:gd name="T19" fmla="*/ 106 h 144"/>
                  <a:gd name="T20" fmla="*/ 0 w 39"/>
                  <a:gd name="T21" fmla="*/ 69 h 144"/>
                  <a:gd name="T22" fmla="*/ 0 w 39"/>
                  <a:gd name="T23" fmla="*/ 37 h 144"/>
                  <a:gd name="T24" fmla="*/ 0 w 39"/>
                  <a:gd name="T25" fmla="*/ 0 h 144"/>
                  <a:gd name="T26" fmla="*/ 5 w 39"/>
                  <a:gd name="T27" fmla="*/ 0 h 144"/>
                  <a:gd name="T28" fmla="*/ 10 w 39"/>
                  <a:gd name="T29" fmla="*/ 0 h 144"/>
                  <a:gd name="T30" fmla="*/ 15 w 39"/>
                  <a:gd name="T31" fmla="*/ 0 h 144"/>
                  <a:gd name="T32" fmla="*/ 20 w 39"/>
                  <a:gd name="T33" fmla="*/ 5 h 144"/>
                  <a:gd name="T34" fmla="*/ 24 w 39"/>
                  <a:gd name="T35" fmla="*/ 5 h 144"/>
                  <a:gd name="T36" fmla="*/ 29 w 39"/>
                  <a:gd name="T37" fmla="*/ 5 h 144"/>
                  <a:gd name="T38" fmla="*/ 29 w 39"/>
                  <a:gd name="T39" fmla="*/ 5 h 144"/>
                  <a:gd name="T40" fmla="*/ 34 w 39"/>
                  <a:gd name="T41" fmla="*/ 5 h 144"/>
                  <a:gd name="T42" fmla="*/ 39 w 39"/>
                  <a:gd name="T43" fmla="*/ 42 h 144"/>
                  <a:gd name="T44" fmla="*/ 39 w 39"/>
                  <a:gd name="T45" fmla="*/ 74 h 144"/>
                  <a:gd name="T46" fmla="*/ 34 w 39"/>
                  <a:gd name="T47" fmla="*/ 112 h 144"/>
                  <a:gd name="T48" fmla="*/ 39 w 39"/>
                  <a:gd name="T4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" h="144">
                    <a:moveTo>
                      <a:pt x="39" y="144"/>
                    </a:moveTo>
                    <a:lnTo>
                      <a:pt x="34" y="144"/>
                    </a:lnTo>
                    <a:lnTo>
                      <a:pt x="29" y="144"/>
                    </a:lnTo>
                    <a:lnTo>
                      <a:pt x="24" y="144"/>
                    </a:lnTo>
                    <a:lnTo>
                      <a:pt x="20" y="144"/>
                    </a:lnTo>
                    <a:lnTo>
                      <a:pt x="15" y="144"/>
                    </a:lnTo>
                    <a:lnTo>
                      <a:pt x="10" y="144"/>
                    </a:lnTo>
                    <a:lnTo>
                      <a:pt x="5" y="144"/>
                    </a:lnTo>
                    <a:lnTo>
                      <a:pt x="0" y="138"/>
                    </a:lnTo>
                    <a:lnTo>
                      <a:pt x="0" y="106"/>
                    </a:lnTo>
                    <a:lnTo>
                      <a:pt x="0" y="69"/>
                    </a:lnTo>
                    <a:lnTo>
                      <a:pt x="0" y="37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5" y="0"/>
                    </a:lnTo>
                    <a:lnTo>
                      <a:pt x="20" y="5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34" y="5"/>
                    </a:lnTo>
                    <a:lnTo>
                      <a:pt x="39" y="42"/>
                    </a:lnTo>
                    <a:lnTo>
                      <a:pt x="39" y="74"/>
                    </a:lnTo>
                    <a:lnTo>
                      <a:pt x="34" y="112"/>
                    </a:lnTo>
                    <a:lnTo>
                      <a:pt x="39" y="1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7" name="Freeform 37">
                <a:extLst>
                  <a:ext uri="{FF2B5EF4-FFF2-40B4-BE49-F238E27FC236}">
                    <a16:creationId xmlns:a16="http://schemas.microsoft.com/office/drawing/2014/main" id="{6B660D3D-15D6-39CF-FF98-294EAD1347D8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auto">
              <a:xfrm>
                <a:off x="2156" y="2704"/>
                <a:ext cx="167" cy="133"/>
              </a:xfrm>
              <a:custGeom>
                <a:avLst/>
                <a:gdLst>
                  <a:gd name="T0" fmla="*/ 14 w 167"/>
                  <a:gd name="T1" fmla="*/ 133 h 133"/>
                  <a:gd name="T2" fmla="*/ 0 w 167"/>
                  <a:gd name="T3" fmla="*/ 133 h 133"/>
                  <a:gd name="T4" fmla="*/ 0 w 167"/>
                  <a:gd name="T5" fmla="*/ 0 h 133"/>
                  <a:gd name="T6" fmla="*/ 167 w 167"/>
                  <a:gd name="T7" fmla="*/ 26 h 133"/>
                  <a:gd name="T8" fmla="*/ 14 w 167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33">
                    <a:moveTo>
                      <a:pt x="14" y="133"/>
                    </a:moveTo>
                    <a:lnTo>
                      <a:pt x="0" y="133"/>
                    </a:lnTo>
                    <a:lnTo>
                      <a:pt x="0" y="0"/>
                    </a:lnTo>
                    <a:lnTo>
                      <a:pt x="167" y="26"/>
                    </a:lnTo>
                    <a:lnTo>
                      <a:pt x="14" y="13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8" name="Freeform 38">
                <a:extLst>
                  <a:ext uri="{FF2B5EF4-FFF2-40B4-BE49-F238E27FC236}">
                    <a16:creationId xmlns:a16="http://schemas.microsoft.com/office/drawing/2014/main" id="{46FD5024-C0B6-FD58-C762-DE1B58DEF545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auto">
              <a:xfrm>
                <a:off x="2184" y="2730"/>
                <a:ext cx="264" cy="118"/>
              </a:xfrm>
              <a:custGeom>
                <a:avLst/>
                <a:gdLst>
                  <a:gd name="T0" fmla="*/ 259 w 264"/>
                  <a:gd name="T1" fmla="*/ 22 h 118"/>
                  <a:gd name="T2" fmla="*/ 240 w 264"/>
                  <a:gd name="T3" fmla="*/ 32 h 118"/>
                  <a:gd name="T4" fmla="*/ 226 w 264"/>
                  <a:gd name="T5" fmla="*/ 48 h 118"/>
                  <a:gd name="T6" fmla="*/ 206 w 264"/>
                  <a:gd name="T7" fmla="*/ 59 h 118"/>
                  <a:gd name="T8" fmla="*/ 187 w 264"/>
                  <a:gd name="T9" fmla="*/ 75 h 118"/>
                  <a:gd name="T10" fmla="*/ 168 w 264"/>
                  <a:gd name="T11" fmla="*/ 86 h 118"/>
                  <a:gd name="T12" fmla="*/ 149 w 264"/>
                  <a:gd name="T13" fmla="*/ 96 h 118"/>
                  <a:gd name="T14" fmla="*/ 130 w 264"/>
                  <a:gd name="T15" fmla="*/ 112 h 118"/>
                  <a:gd name="T16" fmla="*/ 115 w 264"/>
                  <a:gd name="T17" fmla="*/ 118 h 118"/>
                  <a:gd name="T18" fmla="*/ 101 w 264"/>
                  <a:gd name="T19" fmla="*/ 112 h 118"/>
                  <a:gd name="T20" fmla="*/ 87 w 264"/>
                  <a:gd name="T21" fmla="*/ 112 h 118"/>
                  <a:gd name="T22" fmla="*/ 72 w 264"/>
                  <a:gd name="T23" fmla="*/ 112 h 118"/>
                  <a:gd name="T24" fmla="*/ 53 w 264"/>
                  <a:gd name="T25" fmla="*/ 112 h 118"/>
                  <a:gd name="T26" fmla="*/ 39 w 264"/>
                  <a:gd name="T27" fmla="*/ 112 h 118"/>
                  <a:gd name="T28" fmla="*/ 24 w 264"/>
                  <a:gd name="T29" fmla="*/ 112 h 118"/>
                  <a:gd name="T30" fmla="*/ 10 w 264"/>
                  <a:gd name="T31" fmla="*/ 107 h 118"/>
                  <a:gd name="T32" fmla="*/ 10 w 264"/>
                  <a:gd name="T33" fmla="*/ 102 h 118"/>
                  <a:gd name="T34" fmla="*/ 29 w 264"/>
                  <a:gd name="T35" fmla="*/ 86 h 118"/>
                  <a:gd name="T36" fmla="*/ 48 w 264"/>
                  <a:gd name="T37" fmla="*/ 75 h 118"/>
                  <a:gd name="T38" fmla="*/ 67 w 264"/>
                  <a:gd name="T39" fmla="*/ 59 h 118"/>
                  <a:gd name="T40" fmla="*/ 82 w 264"/>
                  <a:gd name="T41" fmla="*/ 48 h 118"/>
                  <a:gd name="T42" fmla="*/ 101 w 264"/>
                  <a:gd name="T43" fmla="*/ 32 h 118"/>
                  <a:gd name="T44" fmla="*/ 120 w 264"/>
                  <a:gd name="T45" fmla="*/ 22 h 118"/>
                  <a:gd name="T46" fmla="*/ 139 w 264"/>
                  <a:gd name="T47" fmla="*/ 6 h 118"/>
                  <a:gd name="T48" fmla="*/ 154 w 264"/>
                  <a:gd name="T49" fmla="*/ 0 h 118"/>
                  <a:gd name="T50" fmla="*/ 168 w 264"/>
                  <a:gd name="T51" fmla="*/ 0 h 118"/>
                  <a:gd name="T52" fmla="*/ 182 w 264"/>
                  <a:gd name="T53" fmla="*/ 0 h 118"/>
                  <a:gd name="T54" fmla="*/ 197 w 264"/>
                  <a:gd name="T55" fmla="*/ 6 h 118"/>
                  <a:gd name="T56" fmla="*/ 216 w 264"/>
                  <a:gd name="T57" fmla="*/ 11 h 118"/>
                  <a:gd name="T58" fmla="*/ 230 w 264"/>
                  <a:gd name="T59" fmla="*/ 11 h 118"/>
                  <a:gd name="T60" fmla="*/ 245 w 264"/>
                  <a:gd name="T61" fmla="*/ 11 h 118"/>
                  <a:gd name="T62" fmla="*/ 259 w 264"/>
                  <a:gd name="T63" fmla="*/ 1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4" h="118">
                    <a:moveTo>
                      <a:pt x="264" y="16"/>
                    </a:moveTo>
                    <a:lnTo>
                      <a:pt x="259" y="22"/>
                    </a:lnTo>
                    <a:lnTo>
                      <a:pt x="249" y="27"/>
                    </a:lnTo>
                    <a:lnTo>
                      <a:pt x="240" y="32"/>
                    </a:lnTo>
                    <a:lnTo>
                      <a:pt x="230" y="43"/>
                    </a:lnTo>
                    <a:lnTo>
                      <a:pt x="226" y="48"/>
                    </a:lnTo>
                    <a:lnTo>
                      <a:pt x="216" y="54"/>
                    </a:lnTo>
                    <a:lnTo>
                      <a:pt x="206" y="59"/>
                    </a:lnTo>
                    <a:lnTo>
                      <a:pt x="197" y="64"/>
                    </a:lnTo>
                    <a:lnTo>
                      <a:pt x="187" y="75"/>
                    </a:lnTo>
                    <a:lnTo>
                      <a:pt x="178" y="80"/>
                    </a:lnTo>
                    <a:lnTo>
                      <a:pt x="168" y="86"/>
                    </a:lnTo>
                    <a:lnTo>
                      <a:pt x="158" y="91"/>
                    </a:lnTo>
                    <a:lnTo>
                      <a:pt x="149" y="96"/>
                    </a:lnTo>
                    <a:lnTo>
                      <a:pt x="139" y="102"/>
                    </a:lnTo>
                    <a:lnTo>
                      <a:pt x="130" y="112"/>
                    </a:lnTo>
                    <a:lnTo>
                      <a:pt x="125" y="118"/>
                    </a:lnTo>
                    <a:lnTo>
                      <a:pt x="115" y="118"/>
                    </a:lnTo>
                    <a:lnTo>
                      <a:pt x="106" y="112"/>
                    </a:lnTo>
                    <a:lnTo>
                      <a:pt x="101" y="112"/>
                    </a:lnTo>
                    <a:lnTo>
                      <a:pt x="91" y="112"/>
                    </a:lnTo>
                    <a:lnTo>
                      <a:pt x="87" y="112"/>
                    </a:lnTo>
                    <a:lnTo>
                      <a:pt x="77" y="112"/>
                    </a:lnTo>
                    <a:lnTo>
                      <a:pt x="72" y="112"/>
                    </a:lnTo>
                    <a:lnTo>
                      <a:pt x="63" y="112"/>
                    </a:lnTo>
                    <a:lnTo>
                      <a:pt x="53" y="112"/>
                    </a:lnTo>
                    <a:lnTo>
                      <a:pt x="48" y="112"/>
                    </a:lnTo>
                    <a:lnTo>
                      <a:pt x="39" y="112"/>
                    </a:lnTo>
                    <a:lnTo>
                      <a:pt x="29" y="112"/>
                    </a:lnTo>
                    <a:lnTo>
                      <a:pt x="24" y="112"/>
                    </a:lnTo>
                    <a:lnTo>
                      <a:pt x="15" y="10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10" y="102"/>
                    </a:lnTo>
                    <a:lnTo>
                      <a:pt x="19" y="96"/>
                    </a:lnTo>
                    <a:lnTo>
                      <a:pt x="29" y="86"/>
                    </a:lnTo>
                    <a:lnTo>
                      <a:pt x="39" y="80"/>
                    </a:lnTo>
                    <a:lnTo>
                      <a:pt x="48" y="75"/>
                    </a:lnTo>
                    <a:lnTo>
                      <a:pt x="58" y="70"/>
                    </a:lnTo>
                    <a:lnTo>
                      <a:pt x="67" y="59"/>
                    </a:lnTo>
                    <a:lnTo>
                      <a:pt x="77" y="54"/>
                    </a:lnTo>
                    <a:lnTo>
                      <a:pt x="82" y="48"/>
                    </a:lnTo>
                    <a:lnTo>
                      <a:pt x="91" y="43"/>
                    </a:lnTo>
                    <a:lnTo>
                      <a:pt x="101" y="32"/>
                    </a:lnTo>
                    <a:lnTo>
                      <a:pt x="110" y="27"/>
                    </a:lnTo>
                    <a:lnTo>
                      <a:pt x="120" y="22"/>
                    </a:lnTo>
                    <a:lnTo>
                      <a:pt x="130" y="16"/>
                    </a:lnTo>
                    <a:lnTo>
                      <a:pt x="139" y="6"/>
                    </a:lnTo>
                    <a:lnTo>
                      <a:pt x="149" y="0"/>
                    </a:lnTo>
                    <a:lnTo>
                      <a:pt x="154" y="0"/>
                    </a:lnTo>
                    <a:lnTo>
                      <a:pt x="158" y="0"/>
                    </a:lnTo>
                    <a:lnTo>
                      <a:pt x="168" y="0"/>
                    </a:lnTo>
                    <a:lnTo>
                      <a:pt x="173" y="0"/>
                    </a:lnTo>
                    <a:lnTo>
                      <a:pt x="182" y="0"/>
                    </a:lnTo>
                    <a:lnTo>
                      <a:pt x="192" y="6"/>
                    </a:lnTo>
                    <a:lnTo>
                      <a:pt x="197" y="6"/>
                    </a:lnTo>
                    <a:lnTo>
                      <a:pt x="206" y="6"/>
                    </a:lnTo>
                    <a:lnTo>
                      <a:pt x="216" y="11"/>
                    </a:lnTo>
                    <a:lnTo>
                      <a:pt x="226" y="11"/>
                    </a:lnTo>
                    <a:lnTo>
                      <a:pt x="230" y="11"/>
                    </a:lnTo>
                    <a:lnTo>
                      <a:pt x="240" y="11"/>
                    </a:lnTo>
                    <a:lnTo>
                      <a:pt x="245" y="11"/>
                    </a:lnTo>
                    <a:lnTo>
                      <a:pt x="254" y="16"/>
                    </a:lnTo>
                    <a:lnTo>
                      <a:pt x="259" y="16"/>
                    </a:lnTo>
                    <a:lnTo>
                      <a:pt x="264" y="1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9" name="Freeform 39">
                <a:extLst>
                  <a:ext uri="{FF2B5EF4-FFF2-40B4-BE49-F238E27FC236}">
                    <a16:creationId xmlns:a16="http://schemas.microsoft.com/office/drawing/2014/main" id="{CA8C377B-02FE-2CD0-CE52-50C6AF93D9A4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auto">
              <a:xfrm>
                <a:off x="2314" y="2746"/>
                <a:ext cx="522" cy="134"/>
              </a:xfrm>
              <a:custGeom>
                <a:avLst/>
                <a:gdLst>
                  <a:gd name="T0" fmla="*/ 522 w 522"/>
                  <a:gd name="T1" fmla="*/ 54 h 134"/>
                  <a:gd name="T2" fmla="*/ 412 w 522"/>
                  <a:gd name="T3" fmla="*/ 134 h 134"/>
                  <a:gd name="T4" fmla="*/ 0 w 522"/>
                  <a:gd name="T5" fmla="*/ 102 h 134"/>
                  <a:gd name="T6" fmla="*/ 148 w 522"/>
                  <a:gd name="T7" fmla="*/ 0 h 134"/>
                  <a:gd name="T8" fmla="*/ 167 w 522"/>
                  <a:gd name="T9" fmla="*/ 6 h 134"/>
                  <a:gd name="T10" fmla="*/ 191 w 522"/>
                  <a:gd name="T11" fmla="*/ 11 h 134"/>
                  <a:gd name="T12" fmla="*/ 215 w 522"/>
                  <a:gd name="T13" fmla="*/ 11 h 134"/>
                  <a:gd name="T14" fmla="*/ 239 w 522"/>
                  <a:gd name="T15" fmla="*/ 16 h 134"/>
                  <a:gd name="T16" fmla="*/ 263 w 522"/>
                  <a:gd name="T17" fmla="*/ 16 h 134"/>
                  <a:gd name="T18" fmla="*/ 287 w 522"/>
                  <a:gd name="T19" fmla="*/ 22 h 134"/>
                  <a:gd name="T20" fmla="*/ 311 w 522"/>
                  <a:gd name="T21" fmla="*/ 22 h 134"/>
                  <a:gd name="T22" fmla="*/ 335 w 522"/>
                  <a:gd name="T23" fmla="*/ 27 h 134"/>
                  <a:gd name="T24" fmla="*/ 359 w 522"/>
                  <a:gd name="T25" fmla="*/ 27 h 134"/>
                  <a:gd name="T26" fmla="*/ 383 w 522"/>
                  <a:gd name="T27" fmla="*/ 32 h 134"/>
                  <a:gd name="T28" fmla="*/ 407 w 522"/>
                  <a:gd name="T29" fmla="*/ 38 h 134"/>
                  <a:gd name="T30" fmla="*/ 431 w 522"/>
                  <a:gd name="T31" fmla="*/ 38 h 134"/>
                  <a:gd name="T32" fmla="*/ 455 w 522"/>
                  <a:gd name="T33" fmla="*/ 43 h 134"/>
                  <a:gd name="T34" fmla="*/ 474 w 522"/>
                  <a:gd name="T35" fmla="*/ 43 h 134"/>
                  <a:gd name="T36" fmla="*/ 498 w 522"/>
                  <a:gd name="T37" fmla="*/ 48 h 134"/>
                  <a:gd name="T38" fmla="*/ 522 w 522"/>
                  <a:gd name="T39" fmla="*/ 5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2" h="134">
                    <a:moveTo>
                      <a:pt x="522" y="54"/>
                    </a:moveTo>
                    <a:lnTo>
                      <a:pt x="412" y="134"/>
                    </a:lnTo>
                    <a:lnTo>
                      <a:pt x="0" y="102"/>
                    </a:lnTo>
                    <a:lnTo>
                      <a:pt x="148" y="0"/>
                    </a:lnTo>
                    <a:lnTo>
                      <a:pt x="167" y="6"/>
                    </a:lnTo>
                    <a:lnTo>
                      <a:pt x="191" y="11"/>
                    </a:lnTo>
                    <a:lnTo>
                      <a:pt x="215" y="11"/>
                    </a:lnTo>
                    <a:lnTo>
                      <a:pt x="239" y="16"/>
                    </a:lnTo>
                    <a:lnTo>
                      <a:pt x="263" y="16"/>
                    </a:lnTo>
                    <a:lnTo>
                      <a:pt x="287" y="22"/>
                    </a:lnTo>
                    <a:lnTo>
                      <a:pt x="311" y="22"/>
                    </a:lnTo>
                    <a:lnTo>
                      <a:pt x="335" y="27"/>
                    </a:lnTo>
                    <a:lnTo>
                      <a:pt x="359" y="27"/>
                    </a:lnTo>
                    <a:lnTo>
                      <a:pt x="383" y="32"/>
                    </a:lnTo>
                    <a:lnTo>
                      <a:pt x="407" y="38"/>
                    </a:lnTo>
                    <a:lnTo>
                      <a:pt x="431" y="38"/>
                    </a:lnTo>
                    <a:lnTo>
                      <a:pt x="455" y="43"/>
                    </a:lnTo>
                    <a:lnTo>
                      <a:pt x="474" y="43"/>
                    </a:lnTo>
                    <a:lnTo>
                      <a:pt x="498" y="48"/>
                    </a:lnTo>
                    <a:lnTo>
                      <a:pt x="52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0" name="Freeform 40">
                <a:extLst>
                  <a:ext uri="{FF2B5EF4-FFF2-40B4-BE49-F238E27FC236}">
                    <a16:creationId xmlns:a16="http://schemas.microsoft.com/office/drawing/2014/main" id="{67970279-EA8C-795B-860F-F10F3FEE9F2A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auto">
              <a:xfrm>
                <a:off x="2731" y="2800"/>
                <a:ext cx="206" cy="90"/>
              </a:xfrm>
              <a:custGeom>
                <a:avLst/>
                <a:gdLst>
                  <a:gd name="T0" fmla="*/ 95 w 206"/>
                  <a:gd name="T1" fmla="*/ 90 h 90"/>
                  <a:gd name="T2" fmla="*/ 0 w 206"/>
                  <a:gd name="T3" fmla="*/ 85 h 90"/>
                  <a:gd name="T4" fmla="*/ 110 w 206"/>
                  <a:gd name="T5" fmla="*/ 0 h 90"/>
                  <a:gd name="T6" fmla="*/ 206 w 206"/>
                  <a:gd name="T7" fmla="*/ 10 h 90"/>
                  <a:gd name="T8" fmla="*/ 95 w 206"/>
                  <a:gd name="T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90">
                    <a:moveTo>
                      <a:pt x="95" y="90"/>
                    </a:moveTo>
                    <a:lnTo>
                      <a:pt x="0" y="85"/>
                    </a:lnTo>
                    <a:lnTo>
                      <a:pt x="110" y="0"/>
                    </a:lnTo>
                    <a:lnTo>
                      <a:pt x="206" y="10"/>
                    </a:lnTo>
                    <a:lnTo>
                      <a:pt x="95" y="9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1" name="Freeform 41">
                <a:extLst>
                  <a:ext uri="{FF2B5EF4-FFF2-40B4-BE49-F238E27FC236}">
                    <a16:creationId xmlns:a16="http://schemas.microsoft.com/office/drawing/2014/main" id="{2E637674-49FE-6C24-1D91-74BC3A82310D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auto">
              <a:xfrm>
                <a:off x="2831" y="2810"/>
                <a:ext cx="221" cy="96"/>
              </a:xfrm>
              <a:custGeom>
                <a:avLst/>
                <a:gdLst>
                  <a:gd name="T0" fmla="*/ 221 w 221"/>
                  <a:gd name="T1" fmla="*/ 16 h 96"/>
                  <a:gd name="T2" fmla="*/ 216 w 221"/>
                  <a:gd name="T3" fmla="*/ 96 h 96"/>
                  <a:gd name="T4" fmla="*/ 0 w 221"/>
                  <a:gd name="T5" fmla="*/ 80 h 96"/>
                  <a:gd name="T6" fmla="*/ 110 w 221"/>
                  <a:gd name="T7" fmla="*/ 0 h 96"/>
                  <a:gd name="T8" fmla="*/ 221 w 221"/>
                  <a:gd name="T9" fmla="*/ 1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96">
                    <a:moveTo>
                      <a:pt x="221" y="16"/>
                    </a:moveTo>
                    <a:lnTo>
                      <a:pt x="216" y="96"/>
                    </a:lnTo>
                    <a:lnTo>
                      <a:pt x="0" y="80"/>
                    </a:lnTo>
                    <a:lnTo>
                      <a:pt x="110" y="0"/>
                    </a:lnTo>
                    <a:lnTo>
                      <a:pt x="221" y="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2" name="Freeform 42">
                <a:extLst>
                  <a:ext uri="{FF2B5EF4-FFF2-40B4-BE49-F238E27FC236}">
                    <a16:creationId xmlns:a16="http://schemas.microsoft.com/office/drawing/2014/main" id="{F4E7B8B4-E184-F510-8638-ED01479DF0A8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auto">
              <a:xfrm>
                <a:off x="3095" y="2837"/>
                <a:ext cx="14" cy="69"/>
              </a:xfrm>
              <a:custGeom>
                <a:avLst/>
                <a:gdLst>
                  <a:gd name="T0" fmla="*/ 14 w 14"/>
                  <a:gd name="T1" fmla="*/ 32 h 69"/>
                  <a:gd name="T2" fmla="*/ 14 w 14"/>
                  <a:gd name="T3" fmla="*/ 69 h 69"/>
                  <a:gd name="T4" fmla="*/ 9 w 14"/>
                  <a:gd name="T5" fmla="*/ 69 h 69"/>
                  <a:gd name="T6" fmla="*/ 5 w 14"/>
                  <a:gd name="T7" fmla="*/ 69 h 69"/>
                  <a:gd name="T8" fmla="*/ 5 w 14"/>
                  <a:gd name="T9" fmla="*/ 69 h 69"/>
                  <a:gd name="T10" fmla="*/ 0 w 14"/>
                  <a:gd name="T11" fmla="*/ 69 h 69"/>
                  <a:gd name="T12" fmla="*/ 0 w 14"/>
                  <a:gd name="T13" fmla="*/ 5 h 69"/>
                  <a:gd name="T14" fmla="*/ 5 w 14"/>
                  <a:gd name="T15" fmla="*/ 0 h 69"/>
                  <a:gd name="T16" fmla="*/ 9 w 14"/>
                  <a:gd name="T17" fmla="*/ 0 h 69"/>
                  <a:gd name="T18" fmla="*/ 14 w 14"/>
                  <a:gd name="T19" fmla="*/ 0 h 69"/>
                  <a:gd name="T20" fmla="*/ 14 w 14"/>
                  <a:gd name="T21" fmla="*/ 5 h 69"/>
                  <a:gd name="T22" fmla="*/ 14 w 14"/>
                  <a:gd name="T23" fmla="*/ 11 h 69"/>
                  <a:gd name="T24" fmla="*/ 14 w 14"/>
                  <a:gd name="T25" fmla="*/ 21 h 69"/>
                  <a:gd name="T26" fmla="*/ 14 w 14"/>
                  <a:gd name="T27" fmla="*/ 27 h 69"/>
                  <a:gd name="T28" fmla="*/ 14 w 14"/>
                  <a:gd name="T29" fmla="*/ 3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69">
                    <a:moveTo>
                      <a:pt x="14" y="32"/>
                    </a:moveTo>
                    <a:lnTo>
                      <a:pt x="14" y="69"/>
                    </a:lnTo>
                    <a:lnTo>
                      <a:pt x="9" y="69"/>
                    </a:lnTo>
                    <a:lnTo>
                      <a:pt x="5" y="69"/>
                    </a:lnTo>
                    <a:lnTo>
                      <a:pt x="5" y="69"/>
                    </a:lnTo>
                    <a:lnTo>
                      <a:pt x="0" y="69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4" y="11"/>
                    </a:lnTo>
                    <a:lnTo>
                      <a:pt x="14" y="21"/>
                    </a:lnTo>
                    <a:lnTo>
                      <a:pt x="14" y="27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3" name="Freeform 43">
                <a:extLst>
                  <a:ext uri="{FF2B5EF4-FFF2-40B4-BE49-F238E27FC236}">
                    <a16:creationId xmlns:a16="http://schemas.microsoft.com/office/drawing/2014/main" id="{0575473A-71C0-145B-4598-43054CE39F1B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auto">
              <a:xfrm>
                <a:off x="2050" y="2842"/>
                <a:ext cx="53" cy="6"/>
              </a:xfrm>
              <a:custGeom>
                <a:avLst/>
                <a:gdLst>
                  <a:gd name="T0" fmla="*/ 53 w 53"/>
                  <a:gd name="T1" fmla="*/ 6 h 6"/>
                  <a:gd name="T2" fmla="*/ 43 w 53"/>
                  <a:gd name="T3" fmla="*/ 6 h 6"/>
                  <a:gd name="T4" fmla="*/ 38 w 53"/>
                  <a:gd name="T5" fmla="*/ 6 h 6"/>
                  <a:gd name="T6" fmla="*/ 34 w 53"/>
                  <a:gd name="T7" fmla="*/ 6 h 6"/>
                  <a:gd name="T8" fmla="*/ 24 w 53"/>
                  <a:gd name="T9" fmla="*/ 6 h 6"/>
                  <a:gd name="T10" fmla="*/ 19 w 53"/>
                  <a:gd name="T11" fmla="*/ 6 h 6"/>
                  <a:gd name="T12" fmla="*/ 14 w 53"/>
                  <a:gd name="T13" fmla="*/ 6 h 6"/>
                  <a:gd name="T14" fmla="*/ 5 w 53"/>
                  <a:gd name="T15" fmla="*/ 6 h 6"/>
                  <a:gd name="T16" fmla="*/ 0 w 53"/>
                  <a:gd name="T17" fmla="*/ 6 h 6"/>
                  <a:gd name="T18" fmla="*/ 5 w 53"/>
                  <a:gd name="T19" fmla="*/ 6 h 6"/>
                  <a:gd name="T20" fmla="*/ 5 w 53"/>
                  <a:gd name="T21" fmla="*/ 0 h 6"/>
                  <a:gd name="T22" fmla="*/ 10 w 53"/>
                  <a:gd name="T23" fmla="*/ 0 h 6"/>
                  <a:gd name="T24" fmla="*/ 14 w 53"/>
                  <a:gd name="T25" fmla="*/ 0 h 6"/>
                  <a:gd name="T26" fmla="*/ 14 w 53"/>
                  <a:gd name="T27" fmla="*/ 0 h 6"/>
                  <a:gd name="T28" fmla="*/ 19 w 53"/>
                  <a:gd name="T29" fmla="*/ 0 h 6"/>
                  <a:gd name="T30" fmla="*/ 19 w 53"/>
                  <a:gd name="T31" fmla="*/ 0 h 6"/>
                  <a:gd name="T32" fmla="*/ 24 w 53"/>
                  <a:gd name="T33" fmla="*/ 0 h 6"/>
                  <a:gd name="T34" fmla="*/ 29 w 53"/>
                  <a:gd name="T35" fmla="*/ 0 h 6"/>
                  <a:gd name="T36" fmla="*/ 29 w 53"/>
                  <a:gd name="T37" fmla="*/ 0 h 6"/>
                  <a:gd name="T38" fmla="*/ 34 w 53"/>
                  <a:gd name="T39" fmla="*/ 0 h 6"/>
                  <a:gd name="T40" fmla="*/ 38 w 53"/>
                  <a:gd name="T41" fmla="*/ 0 h 6"/>
                  <a:gd name="T42" fmla="*/ 43 w 53"/>
                  <a:gd name="T43" fmla="*/ 0 h 6"/>
                  <a:gd name="T44" fmla="*/ 43 w 53"/>
                  <a:gd name="T45" fmla="*/ 0 h 6"/>
                  <a:gd name="T46" fmla="*/ 48 w 53"/>
                  <a:gd name="T47" fmla="*/ 6 h 6"/>
                  <a:gd name="T48" fmla="*/ 53 w 53"/>
                  <a:gd name="T49" fmla="*/ 6 h 6"/>
                  <a:gd name="T50" fmla="*/ 53 w 53"/>
                  <a:gd name="T5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3" h="6">
                    <a:moveTo>
                      <a:pt x="53" y="6"/>
                    </a:moveTo>
                    <a:lnTo>
                      <a:pt x="43" y="6"/>
                    </a:lnTo>
                    <a:lnTo>
                      <a:pt x="38" y="6"/>
                    </a:lnTo>
                    <a:lnTo>
                      <a:pt x="34" y="6"/>
                    </a:lnTo>
                    <a:lnTo>
                      <a:pt x="24" y="6"/>
                    </a:lnTo>
                    <a:lnTo>
                      <a:pt x="19" y="6"/>
                    </a:lnTo>
                    <a:lnTo>
                      <a:pt x="14" y="6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8" y="6"/>
                    </a:lnTo>
                    <a:lnTo>
                      <a:pt x="53" y="6"/>
                    </a:lnTo>
                    <a:lnTo>
                      <a:pt x="53" y="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4" name="Freeform 44">
                <a:extLst>
                  <a:ext uri="{FF2B5EF4-FFF2-40B4-BE49-F238E27FC236}">
                    <a16:creationId xmlns:a16="http://schemas.microsoft.com/office/drawing/2014/main" id="{6F1138C5-7341-27A8-EF93-7446FED0E286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auto">
              <a:xfrm>
                <a:off x="2156" y="2842"/>
                <a:ext cx="891" cy="80"/>
              </a:xfrm>
              <a:custGeom>
                <a:avLst/>
                <a:gdLst>
                  <a:gd name="T0" fmla="*/ 891 w 891"/>
                  <a:gd name="T1" fmla="*/ 70 h 80"/>
                  <a:gd name="T2" fmla="*/ 891 w 891"/>
                  <a:gd name="T3" fmla="*/ 80 h 80"/>
                  <a:gd name="T4" fmla="*/ 0 w 891"/>
                  <a:gd name="T5" fmla="*/ 16 h 80"/>
                  <a:gd name="T6" fmla="*/ 0 w 891"/>
                  <a:gd name="T7" fmla="*/ 0 h 80"/>
                  <a:gd name="T8" fmla="*/ 891 w 891"/>
                  <a:gd name="T9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1" h="80">
                    <a:moveTo>
                      <a:pt x="891" y="70"/>
                    </a:moveTo>
                    <a:lnTo>
                      <a:pt x="891" y="80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891" y="70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25" name="Freeform 45">
                <a:extLst>
                  <a:ext uri="{FF2B5EF4-FFF2-40B4-BE49-F238E27FC236}">
                    <a16:creationId xmlns:a16="http://schemas.microsoft.com/office/drawing/2014/main" id="{6FA7F237-0B8A-7E74-D5F7-D0028E9E3422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auto">
              <a:xfrm>
                <a:off x="3095" y="2912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0 h 5"/>
                  <a:gd name="T4" fmla="*/ 5 w 5"/>
                  <a:gd name="T5" fmla="*/ 0 h 5"/>
                  <a:gd name="T6" fmla="*/ 0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3" name="Group 46">
              <a:extLst>
                <a:ext uri="{FF2B5EF4-FFF2-40B4-BE49-F238E27FC236}">
                  <a16:creationId xmlns:a16="http://schemas.microsoft.com/office/drawing/2014/main" id="{7F49284B-446B-B4EB-3C49-A0E608B5ABF7}"/>
                </a:ext>
              </a:extLst>
            </p:cNvPr>
            <p:cNvGrpSpPr>
              <a:grpSpLocks/>
            </p:cNvGrpSpPr>
            <p:nvPr/>
          </p:nvGrpSpPr>
          <p:grpSpPr bwMode="auto">
            <a:xfrm rot="493484" flipH="1">
              <a:off x="1775" y="1057"/>
              <a:ext cx="866" cy="684"/>
              <a:chOff x="2016" y="2165"/>
              <a:chExt cx="1167" cy="921"/>
            </a:xfrm>
          </p:grpSpPr>
          <p:sp>
            <p:nvSpPr>
              <p:cNvPr id="70" name="Freeform 47">
                <a:extLst>
                  <a:ext uri="{FF2B5EF4-FFF2-40B4-BE49-F238E27FC236}">
                    <a16:creationId xmlns:a16="http://schemas.microsoft.com/office/drawing/2014/main" id="{5B783F0A-5E77-8B50-CB3D-DA0A8574D75D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2966" y="2925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1" name="Freeform 48">
                <a:extLst>
                  <a:ext uri="{FF2B5EF4-FFF2-40B4-BE49-F238E27FC236}">
                    <a16:creationId xmlns:a16="http://schemas.microsoft.com/office/drawing/2014/main" id="{1E303939-7E23-21A8-5BFB-13454FCCE7F4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2016" y="2940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2" name="Freeform 49">
                <a:extLst>
                  <a:ext uri="{FF2B5EF4-FFF2-40B4-BE49-F238E27FC236}">
                    <a16:creationId xmlns:a16="http://schemas.microsoft.com/office/drawing/2014/main" id="{6843CF9A-F072-8E2F-CE1D-A1DE5B35AFAB}"/>
                  </a:ext>
                </a:extLst>
              </p:cNvPr>
              <p:cNvSpPr>
                <a:spLocks noEditPoints="1"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2031" y="2165"/>
                <a:ext cx="1097" cy="864"/>
              </a:xfrm>
              <a:custGeom>
                <a:avLst/>
                <a:gdLst>
                  <a:gd name="T0" fmla="*/ 714 w 1097"/>
                  <a:gd name="T1" fmla="*/ 272 h 864"/>
                  <a:gd name="T2" fmla="*/ 891 w 1097"/>
                  <a:gd name="T3" fmla="*/ 320 h 864"/>
                  <a:gd name="T4" fmla="*/ 1035 w 1097"/>
                  <a:gd name="T5" fmla="*/ 347 h 864"/>
                  <a:gd name="T6" fmla="*/ 1045 w 1097"/>
                  <a:gd name="T7" fmla="*/ 288 h 864"/>
                  <a:gd name="T8" fmla="*/ 1069 w 1097"/>
                  <a:gd name="T9" fmla="*/ 304 h 864"/>
                  <a:gd name="T10" fmla="*/ 1073 w 1097"/>
                  <a:gd name="T11" fmla="*/ 352 h 864"/>
                  <a:gd name="T12" fmla="*/ 1083 w 1097"/>
                  <a:gd name="T13" fmla="*/ 373 h 864"/>
                  <a:gd name="T14" fmla="*/ 1097 w 1097"/>
                  <a:gd name="T15" fmla="*/ 373 h 864"/>
                  <a:gd name="T16" fmla="*/ 1083 w 1097"/>
                  <a:gd name="T17" fmla="*/ 464 h 864"/>
                  <a:gd name="T18" fmla="*/ 1064 w 1097"/>
                  <a:gd name="T19" fmla="*/ 619 h 864"/>
                  <a:gd name="T20" fmla="*/ 1073 w 1097"/>
                  <a:gd name="T21" fmla="*/ 667 h 864"/>
                  <a:gd name="T22" fmla="*/ 1083 w 1097"/>
                  <a:gd name="T23" fmla="*/ 709 h 864"/>
                  <a:gd name="T24" fmla="*/ 1064 w 1097"/>
                  <a:gd name="T25" fmla="*/ 811 h 864"/>
                  <a:gd name="T26" fmla="*/ 1059 w 1097"/>
                  <a:gd name="T27" fmla="*/ 832 h 864"/>
                  <a:gd name="T28" fmla="*/ 1025 w 1097"/>
                  <a:gd name="T29" fmla="*/ 837 h 864"/>
                  <a:gd name="T30" fmla="*/ 1016 w 1097"/>
                  <a:gd name="T31" fmla="*/ 763 h 864"/>
                  <a:gd name="T32" fmla="*/ 930 w 1097"/>
                  <a:gd name="T33" fmla="*/ 752 h 864"/>
                  <a:gd name="T34" fmla="*/ 733 w 1097"/>
                  <a:gd name="T35" fmla="*/ 736 h 864"/>
                  <a:gd name="T36" fmla="*/ 599 w 1097"/>
                  <a:gd name="T37" fmla="*/ 603 h 864"/>
                  <a:gd name="T38" fmla="*/ 767 w 1097"/>
                  <a:gd name="T39" fmla="*/ 624 h 864"/>
                  <a:gd name="T40" fmla="*/ 934 w 1097"/>
                  <a:gd name="T41" fmla="*/ 645 h 864"/>
                  <a:gd name="T42" fmla="*/ 1025 w 1097"/>
                  <a:gd name="T43" fmla="*/ 512 h 864"/>
                  <a:gd name="T44" fmla="*/ 886 w 1097"/>
                  <a:gd name="T45" fmla="*/ 432 h 864"/>
                  <a:gd name="T46" fmla="*/ 714 w 1097"/>
                  <a:gd name="T47" fmla="*/ 395 h 864"/>
                  <a:gd name="T48" fmla="*/ 570 w 1097"/>
                  <a:gd name="T49" fmla="*/ 229 h 864"/>
                  <a:gd name="T50" fmla="*/ 120 w 1097"/>
                  <a:gd name="T51" fmla="*/ 85 h 864"/>
                  <a:gd name="T52" fmla="*/ 287 w 1097"/>
                  <a:gd name="T53" fmla="*/ 144 h 864"/>
                  <a:gd name="T54" fmla="*/ 455 w 1097"/>
                  <a:gd name="T55" fmla="*/ 197 h 864"/>
                  <a:gd name="T56" fmla="*/ 541 w 1097"/>
                  <a:gd name="T57" fmla="*/ 357 h 864"/>
                  <a:gd name="T58" fmla="*/ 374 w 1097"/>
                  <a:gd name="T59" fmla="*/ 315 h 864"/>
                  <a:gd name="T60" fmla="*/ 201 w 1097"/>
                  <a:gd name="T61" fmla="*/ 277 h 864"/>
                  <a:gd name="T62" fmla="*/ 120 w 1097"/>
                  <a:gd name="T63" fmla="*/ 336 h 864"/>
                  <a:gd name="T64" fmla="*/ 120 w 1097"/>
                  <a:gd name="T65" fmla="*/ 400 h 864"/>
                  <a:gd name="T66" fmla="*/ 206 w 1097"/>
                  <a:gd name="T67" fmla="*/ 544 h 864"/>
                  <a:gd name="T68" fmla="*/ 374 w 1097"/>
                  <a:gd name="T69" fmla="*/ 571 h 864"/>
                  <a:gd name="T70" fmla="*/ 541 w 1097"/>
                  <a:gd name="T71" fmla="*/ 592 h 864"/>
                  <a:gd name="T72" fmla="*/ 422 w 1097"/>
                  <a:gd name="T73" fmla="*/ 715 h 864"/>
                  <a:gd name="T74" fmla="*/ 230 w 1097"/>
                  <a:gd name="T75" fmla="*/ 704 h 864"/>
                  <a:gd name="T76" fmla="*/ 125 w 1097"/>
                  <a:gd name="T77" fmla="*/ 699 h 864"/>
                  <a:gd name="T78" fmla="*/ 115 w 1097"/>
                  <a:gd name="T79" fmla="*/ 864 h 864"/>
                  <a:gd name="T80" fmla="*/ 72 w 1097"/>
                  <a:gd name="T81" fmla="*/ 864 h 864"/>
                  <a:gd name="T82" fmla="*/ 53 w 1097"/>
                  <a:gd name="T83" fmla="*/ 688 h 864"/>
                  <a:gd name="T84" fmla="*/ 10 w 1097"/>
                  <a:gd name="T85" fmla="*/ 688 h 864"/>
                  <a:gd name="T86" fmla="*/ 5 w 1097"/>
                  <a:gd name="T87" fmla="*/ 528 h 864"/>
                  <a:gd name="T88" fmla="*/ 24 w 1097"/>
                  <a:gd name="T89" fmla="*/ 517 h 864"/>
                  <a:gd name="T90" fmla="*/ 57 w 1097"/>
                  <a:gd name="T91" fmla="*/ 517 h 864"/>
                  <a:gd name="T92" fmla="*/ 67 w 1097"/>
                  <a:gd name="T93" fmla="*/ 315 h 864"/>
                  <a:gd name="T94" fmla="*/ 33 w 1097"/>
                  <a:gd name="T95" fmla="*/ 235 h 864"/>
                  <a:gd name="T96" fmla="*/ 14 w 1097"/>
                  <a:gd name="T97" fmla="*/ 101 h 864"/>
                  <a:gd name="T98" fmla="*/ 24 w 1097"/>
                  <a:gd name="T99" fmla="*/ 59 h 864"/>
                  <a:gd name="T100" fmla="*/ 48 w 1097"/>
                  <a:gd name="T101" fmla="*/ 53 h 864"/>
                  <a:gd name="T102" fmla="*/ 72 w 1097"/>
                  <a:gd name="T103" fmla="*/ 53 h 864"/>
                  <a:gd name="T104" fmla="*/ 77 w 1097"/>
                  <a:gd name="T105" fmla="*/ 16 h 864"/>
                  <a:gd name="T106" fmla="*/ 96 w 1097"/>
                  <a:gd name="T107" fmla="*/ 0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97" h="864">
                    <a:moveTo>
                      <a:pt x="570" y="229"/>
                    </a:moveTo>
                    <a:lnTo>
                      <a:pt x="599" y="240"/>
                    </a:lnTo>
                    <a:lnTo>
                      <a:pt x="628" y="245"/>
                    </a:lnTo>
                    <a:lnTo>
                      <a:pt x="656" y="256"/>
                    </a:lnTo>
                    <a:lnTo>
                      <a:pt x="685" y="261"/>
                    </a:lnTo>
                    <a:lnTo>
                      <a:pt x="714" y="272"/>
                    </a:lnTo>
                    <a:lnTo>
                      <a:pt x="743" y="277"/>
                    </a:lnTo>
                    <a:lnTo>
                      <a:pt x="776" y="288"/>
                    </a:lnTo>
                    <a:lnTo>
                      <a:pt x="805" y="293"/>
                    </a:lnTo>
                    <a:lnTo>
                      <a:pt x="834" y="304"/>
                    </a:lnTo>
                    <a:lnTo>
                      <a:pt x="863" y="309"/>
                    </a:lnTo>
                    <a:lnTo>
                      <a:pt x="891" y="320"/>
                    </a:lnTo>
                    <a:lnTo>
                      <a:pt x="920" y="325"/>
                    </a:lnTo>
                    <a:lnTo>
                      <a:pt x="949" y="336"/>
                    </a:lnTo>
                    <a:lnTo>
                      <a:pt x="978" y="341"/>
                    </a:lnTo>
                    <a:lnTo>
                      <a:pt x="1006" y="347"/>
                    </a:lnTo>
                    <a:lnTo>
                      <a:pt x="1035" y="357"/>
                    </a:lnTo>
                    <a:lnTo>
                      <a:pt x="1035" y="347"/>
                    </a:lnTo>
                    <a:lnTo>
                      <a:pt x="1035" y="336"/>
                    </a:lnTo>
                    <a:lnTo>
                      <a:pt x="1035" y="325"/>
                    </a:lnTo>
                    <a:lnTo>
                      <a:pt x="1035" y="315"/>
                    </a:lnTo>
                    <a:lnTo>
                      <a:pt x="1035" y="304"/>
                    </a:lnTo>
                    <a:lnTo>
                      <a:pt x="1040" y="293"/>
                    </a:lnTo>
                    <a:lnTo>
                      <a:pt x="1045" y="288"/>
                    </a:lnTo>
                    <a:lnTo>
                      <a:pt x="1054" y="288"/>
                    </a:lnTo>
                    <a:lnTo>
                      <a:pt x="1059" y="293"/>
                    </a:lnTo>
                    <a:lnTo>
                      <a:pt x="1059" y="293"/>
                    </a:lnTo>
                    <a:lnTo>
                      <a:pt x="1064" y="299"/>
                    </a:lnTo>
                    <a:lnTo>
                      <a:pt x="1069" y="299"/>
                    </a:lnTo>
                    <a:lnTo>
                      <a:pt x="1069" y="304"/>
                    </a:lnTo>
                    <a:lnTo>
                      <a:pt x="1073" y="304"/>
                    </a:lnTo>
                    <a:lnTo>
                      <a:pt x="1073" y="309"/>
                    </a:lnTo>
                    <a:lnTo>
                      <a:pt x="1078" y="315"/>
                    </a:lnTo>
                    <a:lnTo>
                      <a:pt x="1073" y="325"/>
                    </a:lnTo>
                    <a:lnTo>
                      <a:pt x="1073" y="341"/>
                    </a:lnTo>
                    <a:lnTo>
                      <a:pt x="1073" y="352"/>
                    </a:lnTo>
                    <a:lnTo>
                      <a:pt x="1073" y="368"/>
                    </a:lnTo>
                    <a:lnTo>
                      <a:pt x="1073" y="368"/>
                    </a:lnTo>
                    <a:lnTo>
                      <a:pt x="1078" y="368"/>
                    </a:lnTo>
                    <a:lnTo>
                      <a:pt x="1078" y="368"/>
                    </a:lnTo>
                    <a:lnTo>
                      <a:pt x="1083" y="373"/>
                    </a:lnTo>
                    <a:lnTo>
                      <a:pt x="1083" y="373"/>
                    </a:lnTo>
                    <a:lnTo>
                      <a:pt x="1088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95"/>
                    </a:lnTo>
                    <a:lnTo>
                      <a:pt x="1093" y="421"/>
                    </a:lnTo>
                    <a:lnTo>
                      <a:pt x="1093" y="448"/>
                    </a:lnTo>
                    <a:lnTo>
                      <a:pt x="1088" y="464"/>
                    </a:lnTo>
                    <a:lnTo>
                      <a:pt x="1083" y="464"/>
                    </a:lnTo>
                    <a:lnTo>
                      <a:pt x="1078" y="464"/>
                    </a:lnTo>
                    <a:lnTo>
                      <a:pt x="1073" y="464"/>
                    </a:lnTo>
                    <a:lnTo>
                      <a:pt x="1069" y="469"/>
                    </a:lnTo>
                    <a:lnTo>
                      <a:pt x="1064" y="512"/>
                    </a:lnTo>
                    <a:lnTo>
                      <a:pt x="1064" y="565"/>
                    </a:lnTo>
                    <a:lnTo>
                      <a:pt x="1064" y="619"/>
                    </a:lnTo>
                    <a:lnTo>
                      <a:pt x="1064" y="667"/>
                    </a:lnTo>
                    <a:lnTo>
                      <a:pt x="1064" y="667"/>
                    </a:lnTo>
                    <a:lnTo>
                      <a:pt x="1069" y="667"/>
                    </a:lnTo>
                    <a:lnTo>
                      <a:pt x="1069" y="667"/>
                    </a:lnTo>
                    <a:lnTo>
                      <a:pt x="1073" y="667"/>
                    </a:lnTo>
                    <a:lnTo>
                      <a:pt x="1073" y="667"/>
                    </a:lnTo>
                    <a:lnTo>
                      <a:pt x="1078" y="667"/>
                    </a:lnTo>
                    <a:lnTo>
                      <a:pt x="1083" y="667"/>
                    </a:lnTo>
                    <a:lnTo>
                      <a:pt x="1083" y="667"/>
                    </a:lnTo>
                    <a:lnTo>
                      <a:pt x="1088" y="672"/>
                    </a:lnTo>
                    <a:lnTo>
                      <a:pt x="1088" y="688"/>
                    </a:lnTo>
                    <a:lnTo>
                      <a:pt x="1083" y="709"/>
                    </a:lnTo>
                    <a:lnTo>
                      <a:pt x="1083" y="731"/>
                    </a:lnTo>
                    <a:lnTo>
                      <a:pt x="1083" y="747"/>
                    </a:lnTo>
                    <a:lnTo>
                      <a:pt x="1064" y="763"/>
                    </a:lnTo>
                    <a:lnTo>
                      <a:pt x="1064" y="779"/>
                    </a:lnTo>
                    <a:lnTo>
                      <a:pt x="1064" y="795"/>
                    </a:lnTo>
                    <a:lnTo>
                      <a:pt x="1064" y="811"/>
                    </a:lnTo>
                    <a:lnTo>
                      <a:pt x="1064" y="827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59" y="832"/>
                    </a:lnTo>
                    <a:lnTo>
                      <a:pt x="1054" y="832"/>
                    </a:lnTo>
                    <a:lnTo>
                      <a:pt x="1049" y="832"/>
                    </a:lnTo>
                    <a:lnTo>
                      <a:pt x="1040" y="832"/>
                    </a:lnTo>
                    <a:lnTo>
                      <a:pt x="1035" y="837"/>
                    </a:lnTo>
                    <a:lnTo>
                      <a:pt x="1030" y="837"/>
                    </a:lnTo>
                    <a:lnTo>
                      <a:pt x="1025" y="837"/>
                    </a:lnTo>
                    <a:lnTo>
                      <a:pt x="1021" y="837"/>
                    </a:lnTo>
                    <a:lnTo>
                      <a:pt x="1016" y="837"/>
                    </a:lnTo>
                    <a:lnTo>
                      <a:pt x="1016" y="837"/>
                    </a:lnTo>
                    <a:lnTo>
                      <a:pt x="1011" y="837"/>
                    </a:lnTo>
                    <a:lnTo>
                      <a:pt x="1011" y="837"/>
                    </a:lnTo>
                    <a:lnTo>
                      <a:pt x="1016" y="763"/>
                    </a:lnTo>
                    <a:lnTo>
                      <a:pt x="1011" y="763"/>
                    </a:lnTo>
                    <a:lnTo>
                      <a:pt x="1006" y="763"/>
                    </a:lnTo>
                    <a:lnTo>
                      <a:pt x="992" y="757"/>
                    </a:lnTo>
                    <a:lnTo>
                      <a:pt x="978" y="757"/>
                    </a:lnTo>
                    <a:lnTo>
                      <a:pt x="954" y="757"/>
                    </a:lnTo>
                    <a:lnTo>
                      <a:pt x="930" y="752"/>
                    </a:lnTo>
                    <a:lnTo>
                      <a:pt x="906" y="752"/>
                    </a:lnTo>
                    <a:lnTo>
                      <a:pt x="877" y="747"/>
                    </a:lnTo>
                    <a:lnTo>
                      <a:pt x="843" y="747"/>
                    </a:lnTo>
                    <a:lnTo>
                      <a:pt x="810" y="741"/>
                    </a:lnTo>
                    <a:lnTo>
                      <a:pt x="771" y="741"/>
                    </a:lnTo>
                    <a:lnTo>
                      <a:pt x="733" y="736"/>
                    </a:lnTo>
                    <a:lnTo>
                      <a:pt x="695" y="736"/>
                    </a:lnTo>
                    <a:lnTo>
                      <a:pt x="656" y="731"/>
                    </a:lnTo>
                    <a:lnTo>
                      <a:pt x="613" y="731"/>
                    </a:lnTo>
                    <a:lnTo>
                      <a:pt x="570" y="725"/>
                    </a:lnTo>
                    <a:lnTo>
                      <a:pt x="570" y="597"/>
                    </a:lnTo>
                    <a:lnTo>
                      <a:pt x="599" y="603"/>
                    </a:lnTo>
                    <a:lnTo>
                      <a:pt x="628" y="603"/>
                    </a:lnTo>
                    <a:lnTo>
                      <a:pt x="656" y="608"/>
                    </a:lnTo>
                    <a:lnTo>
                      <a:pt x="685" y="608"/>
                    </a:lnTo>
                    <a:lnTo>
                      <a:pt x="714" y="613"/>
                    </a:lnTo>
                    <a:lnTo>
                      <a:pt x="743" y="619"/>
                    </a:lnTo>
                    <a:lnTo>
                      <a:pt x="767" y="624"/>
                    </a:lnTo>
                    <a:lnTo>
                      <a:pt x="795" y="624"/>
                    </a:lnTo>
                    <a:lnTo>
                      <a:pt x="824" y="629"/>
                    </a:lnTo>
                    <a:lnTo>
                      <a:pt x="853" y="635"/>
                    </a:lnTo>
                    <a:lnTo>
                      <a:pt x="882" y="635"/>
                    </a:lnTo>
                    <a:lnTo>
                      <a:pt x="910" y="640"/>
                    </a:lnTo>
                    <a:lnTo>
                      <a:pt x="934" y="645"/>
                    </a:lnTo>
                    <a:lnTo>
                      <a:pt x="963" y="651"/>
                    </a:lnTo>
                    <a:lnTo>
                      <a:pt x="992" y="651"/>
                    </a:lnTo>
                    <a:lnTo>
                      <a:pt x="1021" y="656"/>
                    </a:lnTo>
                    <a:lnTo>
                      <a:pt x="1021" y="608"/>
                    </a:lnTo>
                    <a:lnTo>
                      <a:pt x="1025" y="560"/>
                    </a:lnTo>
                    <a:lnTo>
                      <a:pt x="1025" y="512"/>
                    </a:lnTo>
                    <a:lnTo>
                      <a:pt x="1025" y="464"/>
                    </a:lnTo>
                    <a:lnTo>
                      <a:pt x="997" y="459"/>
                    </a:lnTo>
                    <a:lnTo>
                      <a:pt x="968" y="453"/>
                    </a:lnTo>
                    <a:lnTo>
                      <a:pt x="939" y="448"/>
                    </a:lnTo>
                    <a:lnTo>
                      <a:pt x="910" y="437"/>
                    </a:lnTo>
                    <a:lnTo>
                      <a:pt x="886" y="432"/>
                    </a:lnTo>
                    <a:lnTo>
                      <a:pt x="858" y="427"/>
                    </a:lnTo>
                    <a:lnTo>
                      <a:pt x="829" y="421"/>
                    </a:lnTo>
                    <a:lnTo>
                      <a:pt x="800" y="416"/>
                    </a:lnTo>
                    <a:lnTo>
                      <a:pt x="771" y="405"/>
                    </a:lnTo>
                    <a:lnTo>
                      <a:pt x="743" y="400"/>
                    </a:lnTo>
                    <a:lnTo>
                      <a:pt x="714" y="395"/>
                    </a:lnTo>
                    <a:lnTo>
                      <a:pt x="685" y="389"/>
                    </a:lnTo>
                    <a:lnTo>
                      <a:pt x="656" y="384"/>
                    </a:lnTo>
                    <a:lnTo>
                      <a:pt x="628" y="373"/>
                    </a:lnTo>
                    <a:lnTo>
                      <a:pt x="599" y="368"/>
                    </a:lnTo>
                    <a:lnTo>
                      <a:pt x="570" y="363"/>
                    </a:lnTo>
                    <a:lnTo>
                      <a:pt x="570" y="229"/>
                    </a:lnTo>
                    <a:close/>
                    <a:moveTo>
                      <a:pt x="101" y="5"/>
                    </a:moveTo>
                    <a:lnTo>
                      <a:pt x="120" y="21"/>
                    </a:lnTo>
                    <a:lnTo>
                      <a:pt x="120" y="37"/>
                    </a:lnTo>
                    <a:lnTo>
                      <a:pt x="120" y="53"/>
                    </a:lnTo>
                    <a:lnTo>
                      <a:pt x="120" y="69"/>
                    </a:lnTo>
                    <a:lnTo>
                      <a:pt x="120" y="85"/>
                    </a:lnTo>
                    <a:lnTo>
                      <a:pt x="144" y="91"/>
                    </a:lnTo>
                    <a:lnTo>
                      <a:pt x="172" y="101"/>
                    </a:lnTo>
                    <a:lnTo>
                      <a:pt x="201" y="112"/>
                    </a:lnTo>
                    <a:lnTo>
                      <a:pt x="230" y="123"/>
                    </a:lnTo>
                    <a:lnTo>
                      <a:pt x="259" y="133"/>
                    </a:lnTo>
                    <a:lnTo>
                      <a:pt x="287" y="144"/>
                    </a:lnTo>
                    <a:lnTo>
                      <a:pt x="316" y="149"/>
                    </a:lnTo>
                    <a:lnTo>
                      <a:pt x="345" y="160"/>
                    </a:lnTo>
                    <a:lnTo>
                      <a:pt x="369" y="171"/>
                    </a:lnTo>
                    <a:lnTo>
                      <a:pt x="398" y="176"/>
                    </a:lnTo>
                    <a:lnTo>
                      <a:pt x="426" y="187"/>
                    </a:lnTo>
                    <a:lnTo>
                      <a:pt x="455" y="197"/>
                    </a:lnTo>
                    <a:lnTo>
                      <a:pt x="484" y="203"/>
                    </a:lnTo>
                    <a:lnTo>
                      <a:pt x="513" y="213"/>
                    </a:lnTo>
                    <a:lnTo>
                      <a:pt x="541" y="224"/>
                    </a:lnTo>
                    <a:lnTo>
                      <a:pt x="570" y="229"/>
                    </a:lnTo>
                    <a:lnTo>
                      <a:pt x="570" y="363"/>
                    </a:lnTo>
                    <a:lnTo>
                      <a:pt x="541" y="357"/>
                    </a:lnTo>
                    <a:lnTo>
                      <a:pt x="517" y="352"/>
                    </a:lnTo>
                    <a:lnTo>
                      <a:pt x="489" y="341"/>
                    </a:lnTo>
                    <a:lnTo>
                      <a:pt x="460" y="336"/>
                    </a:lnTo>
                    <a:lnTo>
                      <a:pt x="431" y="331"/>
                    </a:lnTo>
                    <a:lnTo>
                      <a:pt x="402" y="325"/>
                    </a:lnTo>
                    <a:lnTo>
                      <a:pt x="374" y="315"/>
                    </a:lnTo>
                    <a:lnTo>
                      <a:pt x="345" y="309"/>
                    </a:lnTo>
                    <a:lnTo>
                      <a:pt x="316" y="304"/>
                    </a:lnTo>
                    <a:lnTo>
                      <a:pt x="287" y="299"/>
                    </a:lnTo>
                    <a:lnTo>
                      <a:pt x="259" y="288"/>
                    </a:lnTo>
                    <a:lnTo>
                      <a:pt x="230" y="283"/>
                    </a:lnTo>
                    <a:lnTo>
                      <a:pt x="201" y="277"/>
                    </a:lnTo>
                    <a:lnTo>
                      <a:pt x="177" y="272"/>
                    </a:lnTo>
                    <a:lnTo>
                      <a:pt x="148" y="267"/>
                    </a:lnTo>
                    <a:lnTo>
                      <a:pt x="120" y="261"/>
                    </a:lnTo>
                    <a:lnTo>
                      <a:pt x="120" y="283"/>
                    </a:lnTo>
                    <a:lnTo>
                      <a:pt x="120" y="309"/>
                    </a:lnTo>
                    <a:lnTo>
                      <a:pt x="120" y="336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400"/>
                    </a:lnTo>
                    <a:lnTo>
                      <a:pt x="120" y="443"/>
                    </a:lnTo>
                    <a:lnTo>
                      <a:pt x="120" y="485"/>
                    </a:lnTo>
                    <a:lnTo>
                      <a:pt x="120" y="528"/>
                    </a:lnTo>
                    <a:lnTo>
                      <a:pt x="148" y="533"/>
                    </a:lnTo>
                    <a:lnTo>
                      <a:pt x="177" y="539"/>
                    </a:lnTo>
                    <a:lnTo>
                      <a:pt x="206" y="544"/>
                    </a:lnTo>
                    <a:lnTo>
                      <a:pt x="235" y="549"/>
                    </a:lnTo>
                    <a:lnTo>
                      <a:pt x="263" y="549"/>
                    </a:lnTo>
                    <a:lnTo>
                      <a:pt x="292" y="555"/>
                    </a:lnTo>
                    <a:lnTo>
                      <a:pt x="316" y="560"/>
                    </a:lnTo>
                    <a:lnTo>
                      <a:pt x="345" y="565"/>
                    </a:lnTo>
                    <a:lnTo>
                      <a:pt x="374" y="571"/>
                    </a:lnTo>
                    <a:lnTo>
                      <a:pt x="402" y="576"/>
                    </a:lnTo>
                    <a:lnTo>
                      <a:pt x="431" y="576"/>
                    </a:lnTo>
                    <a:lnTo>
                      <a:pt x="460" y="581"/>
                    </a:lnTo>
                    <a:lnTo>
                      <a:pt x="489" y="587"/>
                    </a:lnTo>
                    <a:lnTo>
                      <a:pt x="517" y="587"/>
                    </a:lnTo>
                    <a:lnTo>
                      <a:pt x="541" y="592"/>
                    </a:lnTo>
                    <a:lnTo>
                      <a:pt x="570" y="597"/>
                    </a:lnTo>
                    <a:lnTo>
                      <a:pt x="570" y="725"/>
                    </a:lnTo>
                    <a:lnTo>
                      <a:pt x="532" y="720"/>
                    </a:lnTo>
                    <a:lnTo>
                      <a:pt x="494" y="720"/>
                    </a:lnTo>
                    <a:lnTo>
                      <a:pt x="455" y="715"/>
                    </a:lnTo>
                    <a:lnTo>
                      <a:pt x="422" y="715"/>
                    </a:lnTo>
                    <a:lnTo>
                      <a:pt x="383" y="715"/>
                    </a:lnTo>
                    <a:lnTo>
                      <a:pt x="350" y="709"/>
                    </a:lnTo>
                    <a:lnTo>
                      <a:pt x="316" y="709"/>
                    </a:lnTo>
                    <a:lnTo>
                      <a:pt x="283" y="704"/>
                    </a:lnTo>
                    <a:lnTo>
                      <a:pt x="254" y="704"/>
                    </a:lnTo>
                    <a:lnTo>
                      <a:pt x="230" y="704"/>
                    </a:lnTo>
                    <a:lnTo>
                      <a:pt x="201" y="704"/>
                    </a:lnTo>
                    <a:lnTo>
                      <a:pt x="182" y="699"/>
                    </a:lnTo>
                    <a:lnTo>
                      <a:pt x="163" y="699"/>
                    </a:lnTo>
                    <a:lnTo>
                      <a:pt x="148" y="699"/>
                    </a:lnTo>
                    <a:lnTo>
                      <a:pt x="134" y="699"/>
                    </a:lnTo>
                    <a:lnTo>
                      <a:pt x="125" y="699"/>
                    </a:lnTo>
                    <a:lnTo>
                      <a:pt x="125" y="736"/>
                    </a:lnTo>
                    <a:lnTo>
                      <a:pt x="129" y="779"/>
                    </a:lnTo>
                    <a:lnTo>
                      <a:pt x="129" y="821"/>
                    </a:lnTo>
                    <a:lnTo>
                      <a:pt x="129" y="859"/>
                    </a:lnTo>
                    <a:lnTo>
                      <a:pt x="125" y="864"/>
                    </a:lnTo>
                    <a:lnTo>
                      <a:pt x="115" y="864"/>
                    </a:lnTo>
                    <a:lnTo>
                      <a:pt x="105" y="864"/>
                    </a:lnTo>
                    <a:lnTo>
                      <a:pt x="101" y="864"/>
                    </a:lnTo>
                    <a:lnTo>
                      <a:pt x="91" y="864"/>
                    </a:lnTo>
                    <a:lnTo>
                      <a:pt x="86" y="864"/>
                    </a:lnTo>
                    <a:lnTo>
                      <a:pt x="81" y="864"/>
                    </a:lnTo>
                    <a:lnTo>
                      <a:pt x="72" y="864"/>
                    </a:lnTo>
                    <a:lnTo>
                      <a:pt x="72" y="837"/>
                    </a:lnTo>
                    <a:lnTo>
                      <a:pt x="72" y="784"/>
                    </a:lnTo>
                    <a:lnTo>
                      <a:pt x="72" y="725"/>
                    </a:lnTo>
                    <a:lnTo>
                      <a:pt x="72" y="693"/>
                    </a:lnTo>
                    <a:lnTo>
                      <a:pt x="62" y="688"/>
                    </a:lnTo>
                    <a:lnTo>
                      <a:pt x="53" y="688"/>
                    </a:lnTo>
                    <a:lnTo>
                      <a:pt x="48" y="688"/>
                    </a:lnTo>
                    <a:lnTo>
                      <a:pt x="38" y="688"/>
                    </a:lnTo>
                    <a:lnTo>
                      <a:pt x="33" y="688"/>
                    </a:lnTo>
                    <a:lnTo>
                      <a:pt x="24" y="688"/>
                    </a:lnTo>
                    <a:lnTo>
                      <a:pt x="14" y="688"/>
                    </a:lnTo>
                    <a:lnTo>
                      <a:pt x="10" y="688"/>
                    </a:lnTo>
                    <a:lnTo>
                      <a:pt x="5" y="683"/>
                    </a:lnTo>
                    <a:lnTo>
                      <a:pt x="5" y="645"/>
                    </a:lnTo>
                    <a:lnTo>
                      <a:pt x="5" y="608"/>
                    </a:lnTo>
                    <a:lnTo>
                      <a:pt x="0" y="571"/>
                    </a:lnTo>
                    <a:lnTo>
                      <a:pt x="0" y="533"/>
                    </a:lnTo>
                    <a:lnTo>
                      <a:pt x="5" y="528"/>
                    </a:lnTo>
                    <a:lnTo>
                      <a:pt x="5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14" y="528"/>
                    </a:lnTo>
                    <a:lnTo>
                      <a:pt x="19" y="523"/>
                    </a:lnTo>
                    <a:lnTo>
                      <a:pt x="24" y="517"/>
                    </a:lnTo>
                    <a:lnTo>
                      <a:pt x="29" y="512"/>
                    </a:lnTo>
                    <a:lnTo>
                      <a:pt x="33" y="512"/>
                    </a:lnTo>
                    <a:lnTo>
                      <a:pt x="38" y="512"/>
                    </a:lnTo>
                    <a:lnTo>
                      <a:pt x="43" y="512"/>
                    </a:lnTo>
                    <a:lnTo>
                      <a:pt x="53" y="517"/>
                    </a:lnTo>
                    <a:lnTo>
                      <a:pt x="57" y="517"/>
                    </a:lnTo>
                    <a:lnTo>
                      <a:pt x="62" y="517"/>
                    </a:lnTo>
                    <a:lnTo>
                      <a:pt x="62" y="517"/>
                    </a:lnTo>
                    <a:lnTo>
                      <a:pt x="67" y="517"/>
                    </a:lnTo>
                    <a:lnTo>
                      <a:pt x="72" y="448"/>
                    </a:lnTo>
                    <a:lnTo>
                      <a:pt x="72" y="384"/>
                    </a:lnTo>
                    <a:lnTo>
                      <a:pt x="67" y="315"/>
                    </a:lnTo>
                    <a:lnTo>
                      <a:pt x="72" y="251"/>
                    </a:lnTo>
                    <a:lnTo>
                      <a:pt x="62" y="245"/>
                    </a:lnTo>
                    <a:lnTo>
                      <a:pt x="57" y="245"/>
                    </a:lnTo>
                    <a:lnTo>
                      <a:pt x="48" y="240"/>
                    </a:lnTo>
                    <a:lnTo>
                      <a:pt x="43" y="240"/>
                    </a:lnTo>
                    <a:lnTo>
                      <a:pt x="33" y="235"/>
                    </a:lnTo>
                    <a:lnTo>
                      <a:pt x="24" y="235"/>
                    </a:lnTo>
                    <a:lnTo>
                      <a:pt x="19" y="235"/>
                    </a:lnTo>
                    <a:lnTo>
                      <a:pt x="10" y="235"/>
                    </a:lnTo>
                    <a:lnTo>
                      <a:pt x="19" y="197"/>
                    </a:lnTo>
                    <a:lnTo>
                      <a:pt x="14" y="149"/>
                    </a:lnTo>
                    <a:lnTo>
                      <a:pt x="14" y="101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59"/>
                    </a:lnTo>
                    <a:lnTo>
                      <a:pt x="19" y="59"/>
                    </a:lnTo>
                    <a:lnTo>
                      <a:pt x="24" y="59"/>
                    </a:lnTo>
                    <a:lnTo>
                      <a:pt x="29" y="59"/>
                    </a:lnTo>
                    <a:lnTo>
                      <a:pt x="33" y="53"/>
                    </a:lnTo>
                    <a:lnTo>
                      <a:pt x="38" y="48"/>
                    </a:lnTo>
                    <a:lnTo>
                      <a:pt x="43" y="48"/>
                    </a:lnTo>
                    <a:lnTo>
                      <a:pt x="43" y="53"/>
                    </a:lnTo>
                    <a:lnTo>
                      <a:pt x="48" y="53"/>
                    </a:lnTo>
                    <a:lnTo>
                      <a:pt x="53" y="59"/>
                    </a:lnTo>
                    <a:lnTo>
                      <a:pt x="57" y="59"/>
                    </a:lnTo>
                    <a:lnTo>
                      <a:pt x="62" y="59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2" y="53"/>
                    </a:lnTo>
                    <a:lnTo>
                      <a:pt x="72" y="43"/>
                    </a:lnTo>
                    <a:lnTo>
                      <a:pt x="72" y="32"/>
                    </a:lnTo>
                    <a:lnTo>
                      <a:pt x="72" y="27"/>
                    </a:lnTo>
                    <a:lnTo>
                      <a:pt x="72" y="21"/>
                    </a:lnTo>
                    <a:lnTo>
                      <a:pt x="72" y="16"/>
                    </a:lnTo>
                    <a:lnTo>
                      <a:pt x="77" y="16"/>
                    </a:lnTo>
                    <a:lnTo>
                      <a:pt x="81" y="11"/>
                    </a:lnTo>
                    <a:lnTo>
                      <a:pt x="86" y="11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101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3" name="Freeform 50">
                <a:extLst>
                  <a:ext uri="{FF2B5EF4-FFF2-40B4-BE49-F238E27FC236}">
                    <a16:creationId xmlns:a16="http://schemas.microsoft.com/office/drawing/2014/main" id="{7961959F-BF51-AEC7-F0D9-5D359ACCD69F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2127" y="2176"/>
                <a:ext cx="24" cy="837"/>
              </a:xfrm>
              <a:custGeom>
                <a:avLst/>
                <a:gdLst>
                  <a:gd name="T0" fmla="*/ 24 w 24"/>
                  <a:gd name="T1" fmla="*/ 837 h 837"/>
                  <a:gd name="T2" fmla="*/ 19 w 24"/>
                  <a:gd name="T3" fmla="*/ 837 h 837"/>
                  <a:gd name="T4" fmla="*/ 14 w 24"/>
                  <a:gd name="T5" fmla="*/ 837 h 837"/>
                  <a:gd name="T6" fmla="*/ 9 w 24"/>
                  <a:gd name="T7" fmla="*/ 837 h 837"/>
                  <a:gd name="T8" fmla="*/ 9 w 24"/>
                  <a:gd name="T9" fmla="*/ 837 h 837"/>
                  <a:gd name="T10" fmla="*/ 5 w 24"/>
                  <a:gd name="T11" fmla="*/ 629 h 837"/>
                  <a:gd name="T12" fmla="*/ 0 w 24"/>
                  <a:gd name="T13" fmla="*/ 421 h 837"/>
                  <a:gd name="T14" fmla="*/ 0 w 24"/>
                  <a:gd name="T15" fmla="*/ 213 h 837"/>
                  <a:gd name="T16" fmla="*/ 5 w 24"/>
                  <a:gd name="T17" fmla="*/ 0 h 837"/>
                  <a:gd name="T18" fmla="*/ 5 w 24"/>
                  <a:gd name="T19" fmla="*/ 5 h 837"/>
                  <a:gd name="T20" fmla="*/ 9 w 24"/>
                  <a:gd name="T21" fmla="*/ 5 h 837"/>
                  <a:gd name="T22" fmla="*/ 14 w 24"/>
                  <a:gd name="T23" fmla="*/ 10 h 837"/>
                  <a:gd name="T24" fmla="*/ 14 w 24"/>
                  <a:gd name="T25" fmla="*/ 10 h 837"/>
                  <a:gd name="T26" fmla="*/ 19 w 24"/>
                  <a:gd name="T27" fmla="*/ 218 h 837"/>
                  <a:gd name="T28" fmla="*/ 19 w 24"/>
                  <a:gd name="T29" fmla="*/ 421 h 837"/>
                  <a:gd name="T30" fmla="*/ 24 w 24"/>
                  <a:gd name="T31" fmla="*/ 629 h 837"/>
                  <a:gd name="T32" fmla="*/ 24 w 24"/>
                  <a:gd name="T33" fmla="*/ 837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7">
                    <a:moveTo>
                      <a:pt x="24" y="837"/>
                    </a:moveTo>
                    <a:lnTo>
                      <a:pt x="19" y="837"/>
                    </a:lnTo>
                    <a:lnTo>
                      <a:pt x="14" y="837"/>
                    </a:lnTo>
                    <a:lnTo>
                      <a:pt x="9" y="837"/>
                    </a:lnTo>
                    <a:lnTo>
                      <a:pt x="9" y="837"/>
                    </a:lnTo>
                    <a:lnTo>
                      <a:pt x="5" y="629"/>
                    </a:lnTo>
                    <a:lnTo>
                      <a:pt x="0" y="421"/>
                    </a:lnTo>
                    <a:lnTo>
                      <a:pt x="0" y="213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9" y="218"/>
                    </a:lnTo>
                    <a:lnTo>
                      <a:pt x="19" y="421"/>
                    </a:lnTo>
                    <a:lnTo>
                      <a:pt x="24" y="629"/>
                    </a:lnTo>
                    <a:lnTo>
                      <a:pt x="24" y="837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4" name="Freeform 51">
                <a:extLst>
                  <a:ext uri="{FF2B5EF4-FFF2-40B4-BE49-F238E27FC236}">
                    <a16:creationId xmlns:a16="http://schemas.microsoft.com/office/drawing/2014/main" id="{616A351E-34DC-D06C-36AA-E5D1DB1A2ADA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2103" y="2181"/>
                <a:ext cx="24" cy="832"/>
              </a:xfrm>
              <a:custGeom>
                <a:avLst/>
                <a:gdLst>
                  <a:gd name="T0" fmla="*/ 19 w 24"/>
                  <a:gd name="T1" fmla="*/ 0 h 832"/>
                  <a:gd name="T2" fmla="*/ 19 w 24"/>
                  <a:gd name="T3" fmla="*/ 208 h 832"/>
                  <a:gd name="T4" fmla="*/ 19 w 24"/>
                  <a:gd name="T5" fmla="*/ 416 h 832"/>
                  <a:gd name="T6" fmla="*/ 19 w 24"/>
                  <a:gd name="T7" fmla="*/ 624 h 832"/>
                  <a:gd name="T8" fmla="*/ 24 w 24"/>
                  <a:gd name="T9" fmla="*/ 832 h 832"/>
                  <a:gd name="T10" fmla="*/ 19 w 24"/>
                  <a:gd name="T11" fmla="*/ 832 h 832"/>
                  <a:gd name="T12" fmla="*/ 14 w 24"/>
                  <a:gd name="T13" fmla="*/ 832 h 832"/>
                  <a:gd name="T14" fmla="*/ 9 w 24"/>
                  <a:gd name="T15" fmla="*/ 832 h 832"/>
                  <a:gd name="T16" fmla="*/ 5 w 24"/>
                  <a:gd name="T17" fmla="*/ 832 h 832"/>
                  <a:gd name="T18" fmla="*/ 0 w 24"/>
                  <a:gd name="T19" fmla="*/ 635 h 832"/>
                  <a:gd name="T20" fmla="*/ 0 w 24"/>
                  <a:gd name="T21" fmla="*/ 432 h 832"/>
                  <a:gd name="T22" fmla="*/ 0 w 24"/>
                  <a:gd name="T23" fmla="*/ 229 h 832"/>
                  <a:gd name="T24" fmla="*/ 5 w 24"/>
                  <a:gd name="T25" fmla="*/ 21 h 832"/>
                  <a:gd name="T26" fmla="*/ 5 w 24"/>
                  <a:gd name="T27" fmla="*/ 11 h 832"/>
                  <a:gd name="T28" fmla="*/ 9 w 24"/>
                  <a:gd name="T29" fmla="*/ 5 h 832"/>
                  <a:gd name="T30" fmla="*/ 14 w 24"/>
                  <a:gd name="T31" fmla="*/ 0 h 832"/>
                  <a:gd name="T32" fmla="*/ 19 w 24"/>
                  <a:gd name="T33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2">
                    <a:moveTo>
                      <a:pt x="19" y="0"/>
                    </a:moveTo>
                    <a:lnTo>
                      <a:pt x="19" y="208"/>
                    </a:lnTo>
                    <a:lnTo>
                      <a:pt x="19" y="416"/>
                    </a:lnTo>
                    <a:lnTo>
                      <a:pt x="19" y="624"/>
                    </a:lnTo>
                    <a:lnTo>
                      <a:pt x="24" y="832"/>
                    </a:lnTo>
                    <a:lnTo>
                      <a:pt x="19" y="832"/>
                    </a:lnTo>
                    <a:lnTo>
                      <a:pt x="14" y="832"/>
                    </a:lnTo>
                    <a:lnTo>
                      <a:pt x="9" y="832"/>
                    </a:lnTo>
                    <a:lnTo>
                      <a:pt x="5" y="832"/>
                    </a:lnTo>
                    <a:lnTo>
                      <a:pt x="0" y="635"/>
                    </a:lnTo>
                    <a:lnTo>
                      <a:pt x="0" y="432"/>
                    </a:lnTo>
                    <a:lnTo>
                      <a:pt x="0" y="229"/>
                    </a:lnTo>
                    <a:lnTo>
                      <a:pt x="5" y="21"/>
                    </a:lnTo>
                    <a:lnTo>
                      <a:pt x="5" y="11"/>
                    </a:lnTo>
                    <a:lnTo>
                      <a:pt x="9" y="5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5" name="Freeform 52">
                <a:extLst>
                  <a:ext uri="{FF2B5EF4-FFF2-40B4-BE49-F238E27FC236}">
                    <a16:creationId xmlns:a16="http://schemas.microsoft.com/office/drawing/2014/main" id="{87F38FAC-BEF8-CF67-0852-98AB5F6ABFC5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2050" y="2229"/>
                <a:ext cx="19" cy="155"/>
              </a:xfrm>
              <a:custGeom>
                <a:avLst/>
                <a:gdLst>
                  <a:gd name="T0" fmla="*/ 19 w 19"/>
                  <a:gd name="T1" fmla="*/ 0 h 155"/>
                  <a:gd name="T2" fmla="*/ 19 w 19"/>
                  <a:gd name="T3" fmla="*/ 32 h 155"/>
                  <a:gd name="T4" fmla="*/ 19 w 19"/>
                  <a:gd name="T5" fmla="*/ 69 h 155"/>
                  <a:gd name="T6" fmla="*/ 19 w 19"/>
                  <a:gd name="T7" fmla="*/ 107 h 155"/>
                  <a:gd name="T8" fmla="*/ 19 w 19"/>
                  <a:gd name="T9" fmla="*/ 144 h 155"/>
                  <a:gd name="T10" fmla="*/ 19 w 19"/>
                  <a:gd name="T11" fmla="*/ 144 h 155"/>
                  <a:gd name="T12" fmla="*/ 14 w 19"/>
                  <a:gd name="T13" fmla="*/ 149 h 155"/>
                  <a:gd name="T14" fmla="*/ 10 w 19"/>
                  <a:gd name="T15" fmla="*/ 149 h 155"/>
                  <a:gd name="T16" fmla="*/ 0 w 19"/>
                  <a:gd name="T17" fmla="*/ 155 h 155"/>
                  <a:gd name="T18" fmla="*/ 0 w 19"/>
                  <a:gd name="T19" fmla="*/ 117 h 155"/>
                  <a:gd name="T20" fmla="*/ 0 w 19"/>
                  <a:gd name="T21" fmla="*/ 80 h 155"/>
                  <a:gd name="T22" fmla="*/ 0 w 19"/>
                  <a:gd name="T23" fmla="*/ 43 h 155"/>
                  <a:gd name="T24" fmla="*/ 0 w 19"/>
                  <a:gd name="T25" fmla="*/ 5 h 155"/>
                  <a:gd name="T26" fmla="*/ 5 w 19"/>
                  <a:gd name="T27" fmla="*/ 5 h 155"/>
                  <a:gd name="T28" fmla="*/ 10 w 19"/>
                  <a:gd name="T29" fmla="*/ 0 h 155"/>
                  <a:gd name="T30" fmla="*/ 14 w 19"/>
                  <a:gd name="T31" fmla="*/ 0 h 155"/>
                  <a:gd name="T32" fmla="*/ 19 w 19"/>
                  <a:gd name="T33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55">
                    <a:moveTo>
                      <a:pt x="19" y="0"/>
                    </a:moveTo>
                    <a:lnTo>
                      <a:pt x="19" y="32"/>
                    </a:lnTo>
                    <a:lnTo>
                      <a:pt x="19" y="69"/>
                    </a:lnTo>
                    <a:lnTo>
                      <a:pt x="19" y="107"/>
                    </a:lnTo>
                    <a:lnTo>
                      <a:pt x="19" y="144"/>
                    </a:lnTo>
                    <a:lnTo>
                      <a:pt x="19" y="144"/>
                    </a:lnTo>
                    <a:lnTo>
                      <a:pt x="14" y="149"/>
                    </a:lnTo>
                    <a:lnTo>
                      <a:pt x="10" y="149"/>
                    </a:lnTo>
                    <a:lnTo>
                      <a:pt x="0" y="155"/>
                    </a:lnTo>
                    <a:lnTo>
                      <a:pt x="0" y="117"/>
                    </a:lnTo>
                    <a:lnTo>
                      <a:pt x="0" y="80"/>
                    </a:lnTo>
                    <a:lnTo>
                      <a:pt x="0" y="4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6" name="Freeform 53">
                <a:extLst>
                  <a:ext uri="{FF2B5EF4-FFF2-40B4-BE49-F238E27FC236}">
                    <a16:creationId xmlns:a16="http://schemas.microsoft.com/office/drawing/2014/main" id="{C8EDCBBE-DBE5-DB6F-3B8B-C84901C2EFC2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2074" y="2229"/>
                <a:ext cx="29" cy="155"/>
              </a:xfrm>
              <a:custGeom>
                <a:avLst/>
                <a:gdLst>
                  <a:gd name="T0" fmla="*/ 29 w 29"/>
                  <a:gd name="T1" fmla="*/ 11 h 155"/>
                  <a:gd name="T2" fmla="*/ 29 w 29"/>
                  <a:gd name="T3" fmla="*/ 43 h 155"/>
                  <a:gd name="T4" fmla="*/ 29 w 29"/>
                  <a:gd name="T5" fmla="*/ 80 h 155"/>
                  <a:gd name="T6" fmla="*/ 29 w 29"/>
                  <a:gd name="T7" fmla="*/ 117 h 155"/>
                  <a:gd name="T8" fmla="*/ 29 w 29"/>
                  <a:gd name="T9" fmla="*/ 155 h 155"/>
                  <a:gd name="T10" fmla="*/ 5 w 29"/>
                  <a:gd name="T11" fmla="*/ 144 h 155"/>
                  <a:gd name="T12" fmla="*/ 0 w 29"/>
                  <a:gd name="T13" fmla="*/ 0 h 155"/>
                  <a:gd name="T14" fmla="*/ 29 w 29"/>
                  <a:gd name="T15" fmla="*/ 1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55">
                    <a:moveTo>
                      <a:pt x="29" y="11"/>
                    </a:moveTo>
                    <a:lnTo>
                      <a:pt x="29" y="43"/>
                    </a:lnTo>
                    <a:lnTo>
                      <a:pt x="29" y="80"/>
                    </a:lnTo>
                    <a:lnTo>
                      <a:pt x="29" y="117"/>
                    </a:lnTo>
                    <a:lnTo>
                      <a:pt x="29" y="155"/>
                    </a:lnTo>
                    <a:lnTo>
                      <a:pt x="5" y="144"/>
                    </a:lnTo>
                    <a:lnTo>
                      <a:pt x="0" y="0"/>
                    </a:lnTo>
                    <a:lnTo>
                      <a:pt x="29" y="1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7" name="Freeform 54">
                <a:extLst>
                  <a:ext uri="{FF2B5EF4-FFF2-40B4-BE49-F238E27FC236}">
                    <a16:creationId xmlns:a16="http://schemas.microsoft.com/office/drawing/2014/main" id="{53381469-2911-7B1B-02D0-A242C175D96C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2146" y="2256"/>
                <a:ext cx="225" cy="149"/>
              </a:xfrm>
              <a:custGeom>
                <a:avLst/>
                <a:gdLst>
                  <a:gd name="T0" fmla="*/ 48 w 225"/>
                  <a:gd name="T1" fmla="*/ 149 h 149"/>
                  <a:gd name="T2" fmla="*/ 43 w 225"/>
                  <a:gd name="T3" fmla="*/ 149 h 149"/>
                  <a:gd name="T4" fmla="*/ 38 w 225"/>
                  <a:gd name="T5" fmla="*/ 144 h 149"/>
                  <a:gd name="T6" fmla="*/ 33 w 225"/>
                  <a:gd name="T7" fmla="*/ 144 h 149"/>
                  <a:gd name="T8" fmla="*/ 24 w 225"/>
                  <a:gd name="T9" fmla="*/ 144 h 149"/>
                  <a:gd name="T10" fmla="*/ 19 w 225"/>
                  <a:gd name="T11" fmla="*/ 144 h 149"/>
                  <a:gd name="T12" fmla="*/ 14 w 225"/>
                  <a:gd name="T13" fmla="*/ 138 h 149"/>
                  <a:gd name="T14" fmla="*/ 10 w 225"/>
                  <a:gd name="T15" fmla="*/ 138 h 149"/>
                  <a:gd name="T16" fmla="*/ 5 w 225"/>
                  <a:gd name="T17" fmla="*/ 133 h 149"/>
                  <a:gd name="T18" fmla="*/ 0 w 225"/>
                  <a:gd name="T19" fmla="*/ 101 h 149"/>
                  <a:gd name="T20" fmla="*/ 5 w 225"/>
                  <a:gd name="T21" fmla="*/ 69 h 149"/>
                  <a:gd name="T22" fmla="*/ 5 w 225"/>
                  <a:gd name="T23" fmla="*/ 37 h 149"/>
                  <a:gd name="T24" fmla="*/ 5 w 225"/>
                  <a:gd name="T25" fmla="*/ 0 h 149"/>
                  <a:gd name="T26" fmla="*/ 19 w 225"/>
                  <a:gd name="T27" fmla="*/ 5 h 149"/>
                  <a:gd name="T28" fmla="*/ 33 w 225"/>
                  <a:gd name="T29" fmla="*/ 10 h 149"/>
                  <a:gd name="T30" fmla="*/ 43 w 225"/>
                  <a:gd name="T31" fmla="*/ 16 h 149"/>
                  <a:gd name="T32" fmla="*/ 57 w 225"/>
                  <a:gd name="T33" fmla="*/ 16 h 149"/>
                  <a:gd name="T34" fmla="*/ 72 w 225"/>
                  <a:gd name="T35" fmla="*/ 21 h 149"/>
                  <a:gd name="T36" fmla="*/ 86 w 225"/>
                  <a:gd name="T37" fmla="*/ 26 h 149"/>
                  <a:gd name="T38" fmla="*/ 101 w 225"/>
                  <a:gd name="T39" fmla="*/ 32 h 149"/>
                  <a:gd name="T40" fmla="*/ 115 w 225"/>
                  <a:gd name="T41" fmla="*/ 37 h 149"/>
                  <a:gd name="T42" fmla="*/ 129 w 225"/>
                  <a:gd name="T43" fmla="*/ 42 h 149"/>
                  <a:gd name="T44" fmla="*/ 144 w 225"/>
                  <a:gd name="T45" fmla="*/ 48 h 149"/>
                  <a:gd name="T46" fmla="*/ 153 w 225"/>
                  <a:gd name="T47" fmla="*/ 53 h 149"/>
                  <a:gd name="T48" fmla="*/ 168 w 225"/>
                  <a:gd name="T49" fmla="*/ 53 h 149"/>
                  <a:gd name="T50" fmla="*/ 182 w 225"/>
                  <a:gd name="T51" fmla="*/ 58 h 149"/>
                  <a:gd name="T52" fmla="*/ 196 w 225"/>
                  <a:gd name="T53" fmla="*/ 64 h 149"/>
                  <a:gd name="T54" fmla="*/ 211 w 225"/>
                  <a:gd name="T55" fmla="*/ 69 h 149"/>
                  <a:gd name="T56" fmla="*/ 225 w 225"/>
                  <a:gd name="T57" fmla="*/ 74 h 149"/>
                  <a:gd name="T58" fmla="*/ 216 w 225"/>
                  <a:gd name="T59" fmla="*/ 74 h 149"/>
                  <a:gd name="T60" fmla="*/ 201 w 225"/>
                  <a:gd name="T61" fmla="*/ 80 h 149"/>
                  <a:gd name="T62" fmla="*/ 192 w 225"/>
                  <a:gd name="T63" fmla="*/ 85 h 149"/>
                  <a:gd name="T64" fmla="*/ 182 w 225"/>
                  <a:gd name="T65" fmla="*/ 90 h 149"/>
                  <a:gd name="T66" fmla="*/ 172 w 225"/>
                  <a:gd name="T67" fmla="*/ 96 h 149"/>
                  <a:gd name="T68" fmla="*/ 163 w 225"/>
                  <a:gd name="T69" fmla="*/ 101 h 149"/>
                  <a:gd name="T70" fmla="*/ 148 w 225"/>
                  <a:gd name="T71" fmla="*/ 106 h 149"/>
                  <a:gd name="T72" fmla="*/ 139 w 225"/>
                  <a:gd name="T73" fmla="*/ 112 h 149"/>
                  <a:gd name="T74" fmla="*/ 129 w 225"/>
                  <a:gd name="T75" fmla="*/ 117 h 149"/>
                  <a:gd name="T76" fmla="*/ 115 w 225"/>
                  <a:gd name="T77" fmla="*/ 122 h 149"/>
                  <a:gd name="T78" fmla="*/ 105 w 225"/>
                  <a:gd name="T79" fmla="*/ 128 h 149"/>
                  <a:gd name="T80" fmla="*/ 96 w 225"/>
                  <a:gd name="T81" fmla="*/ 133 h 149"/>
                  <a:gd name="T82" fmla="*/ 81 w 225"/>
                  <a:gd name="T83" fmla="*/ 133 h 149"/>
                  <a:gd name="T84" fmla="*/ 72 w 225"/>
                  <a:gd name="T85" fmla="*/ 138 h 149"/>
                  <a:gd name="T86" fmla="*/ 62 w 225"/>
                  <a:gd name="T87" fmla="*/ 144 h 149"/>
                  <a:gd name="T88" fmla="*/ 48 w 225"/>
                  <a:gd name="T8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5" h="149">
                    <a:moveTo>
                      <a:pt x="48" y="149"/>
                    </a:moveTo>
                    <a:lnTo>
                      <a:pt x="43" y="149"/>
                    </a:lnTo>
                    <a:lnTo>
                      <a:pt x="38" y="144"/>
                    </a:lnTo>
                    <a:lnTo>
                      <a:pt x="33" y="144"/>
                    </a:lnTo>
                    <a:lnTo>
                      <a:pt x="24" y="144"/>
                    </a:lnTo>
                    <a:lnTo>
                      <a:pt x="19" y="144"/>
                    </a:lnTo>
                    <a:lnTo>
                      <a:pt x="14" y="138"/>
                    </a:lnTo>
                    <a:lnTo>
                      <a:pt x="10" y="138"/>
                    </a:lnTo>
                    <a:lnTo>
                      <a:pt x="5" y="133"/>
                    </a:lnTo>
                    <a:lnTo>
                      <a:pt x="0" y="101"/>
                    </a:lnTo>
                    <a:lnTo>
                      <a:pt x="5" y="69"/>
                    </a:lnTo>
                    <a:lnTo>
                      <a:pt x="5" y="37"/>
                    </a:lnTo>
                    <a:lnTo>
                      <a:pt x="5" y="0"/>
                    </a:lnTo>
                    <a:lnTo>
                      <a:pt x="19" y="5"/>
                    </a:lnTo>
                    <a:lnTo>
                      <a:pt x="33" y="10"/>
                    </a:lnTo>
                    <a:lnTo>
                      <a:pt x="43" y="16"/>
                    </a:lnTo>
                    <a:lnTo>
                      <a:pt x="57" y="16"/>
                    </a:lnTo>
                    <a:lnTo>
                      <a:pt x="72" y="21"/>
                    </a:lnTo>
                    <a:lnTo>
                      <a:pt x="86" y="26"/>
                    </a:lnTo>
                    <a:lnTo>
                      <a:pt x="101" y="32"/>
                    </a:lnTo>
                    <a:lnTo>
                      <a:pt x="115" y="37"/>
                    </a:lnTo>
                    <a:lnTo>
                      <a:pt x="129" y="42"/>
                    </a:lnTo>
                    <a:lnTo>
                      <a:pt x="144" y="48"/>
                    </a:lnTo>
                    <a:lnTo>
                      <a:pt x="153" y="53"/>
                    </a:lnTo>
                    <a:lnTo>
                      <a:pt x="168" y="53"/>
                    </a:lnTo>
                    <a:lnTo>
                      <a:pt x="182" y="58"/>
                    </a:lnTo>
                    <a:lnTo>
                      <a:pt x="196" y="64"/>
                    </a:lnTo>
                    <a:lnTo>
                      <a:pt x="211" y="69"/>
                    </a:lnTo>
                    <a:lnTo>
                      <a:pt x="225" y="74"/>
                    </a:lnTo>
                    <a:lnTo>
                      <a:pt x="216" y="74"/>
                    </a:lnTo>
                    <a:lnTo>
                      <a:pt x="201" y="80"/>
                    </a:lnTo>
                    <a:lnTo>
                      <a:pt x="192" y="85"/>
                    </a:lnTo>
                    <a:lnTo>
                      <a:pt x="182" y="90"/>
                    </a:lnTo>
                    <a:lnTo>
                      <a:pt x="172" y="96"/>
                    </a:lnTo>
                    <a:lnTo>
                      <a:pt x="163" y="101"/>
                    </a:lnTo>
                    <a:lnTo>
                      <a:pt x="148" y="106"/>
                    </a:lnTo>
                    <a:lnTo>
                      <a:pt x="139" y="112"/>
                    </a:lnTo>
                    <a:lnTo>
                      <a:pt x="129" y="117"/>
                    </a:lnTo>
                    <a:lnTo>
                      <a:pt x="115" y="122"/>
                    </a:lnTo>
                    <a:lnTo>
                      <a:pt x="105" y="128"/>
                    </a:lnTo>
                    <a:lnTo>
                      <a:pt x="96" y="133"/>
                    </a:lnTo>
                    <a:lnTo>
                      <a:pt x="81" y="133"/>
                    </a:lnTo>
                    <a:lnTo>
                      <a:pt x="72" y="138"/>
                    </a:lnTo>
                    <a:lnTo>
                      <a:pt x="62" y="144"/>
                    </a:lnTo>
                    <a:lnTo>
                      <a:pt x="48" y="14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8" name="Freeform 55">
                <a:extLst>
                  <a:ext uri="{FF2B5EF4-FFF2-40B4-BE49-F238E27FC236}">
                    <a16:creationId xmlns:a16="http://schemas.microsoft.com/office/drawing/2014/main" id="{8B1AC9E3-CAA4-ACFE-637C-8F706A150C1C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2208" y="2330"/>
                <a:ext cx="297" cy="112"/>
              </a:xfrm>
              <a:custGeom>
                <a:avLst/>
                <a:gdLst>
                  <a:gd name="T0" fmla="*/ 158 w 297"/>
                  <a:gd name="T1" fmla="*/ 112 h 112"/>
                  <a:gd name="T2" fmla="*/ 144 w 297"/>
                  <a:gd name="T3" fmla="*/ 107 h 112"/>
                  <a:gd name="T4" fmla="*/ 130 w 297"/>
                  <a:gd name="T5" fmla="*/ 107 h 112"/>
                  <a:gd name="T6" fmla="*/ 115 w 297"/>
                  <a:gd name="T7" fmla="*/ 102 h 112"/>
                  <a:gd name="T8" fmla="*/ 106 w 297"/>
                  <a:gd name="T9" fmla="*/ 102 h 112"/>
                  <a:gd name="T10" fmla="*/ 96 w 297"/>
                  <a:gd name="T11" fmla="*/ 102 h 112"/>
                  <a:gd name="T12" fmla="*/ 82 w 297"/>
                  <a:gd name="T13" fmla="*/ 96 h 112"/>
                  <a:gd name="T14" fmla="*/ 58 w 297"/>
                  <a:gd name="T15" fmla="*/ 91 h 112"/>
                  <a:gd name="T16" fmla="*/ 34 w 297"/>
                  <a:gd name="T17" fmla="*/ 86 h 112"/>
                  <a:gd name="T18" fmla="*/ 10 w 297"/>
                  <a:gd name="T19" fmla="*/ 80 h 112"/>
                  <a:gd name="T20" fmla="*/ 10 w 297"/>
                  <a:gd name="T21" fmla="*/ 75 h 112"/>
                  <a:gd name="T22" fmla="*/ 34 w 297"/>
                  <a:gd name="T23" fmla="*/ 64 h 112"/>
                  <a:gd name="T24" fmla="*/ 53 w 297"/>
                  <a:gd name="T25" fmla="*/ 54 h 112"/>
                  <a:gd name="T26" fmla="*/ 77 w 297"/>
                  <a:gd name="T27" fmla="*/ 43 h 112"/>
                  <a:gd name="T28" fmla="*/ 96 w 297"/>
                  <a:gd name="T29" fmla="*/ 32 h 112"/>
                  <a:gd name="T30" fmla="*/ 120 w 297"/>
                  <a:gd name="T31" fmla="*/ 27 h 112"/>
                  <a:gd name="T32" fmla="*/ 139 w 297"/>
                  <a:gd name="T33" fmla="*/ 16 h 112"/>
                  <a:gd name="T34" fmla="*/ 163 w 297"/>
                  <a:gd name="T35" fmla="*/ 6 h 112"/>
                  <a:gd name="T36" fmla="*/ 182 w 297"/>
                  <a:gd name="T37" fmla="*/ 6 h 112"/>
                  <a:gd name="T38" fmla="*/ 197 w 297"/>
                  <a:gd name="T39" fmla="*/ 11 h 112"/>
                  <a:gd name="T40" fmla="*/ 211 w 297"/>
                  <a:gd name="T41" fmla="*/ 16 h 112"/>
                  <a:gd name="T42" fmla="*/ 225 w 297"/>
                  <a:gd name="T43" fmla="*/ 22 h 112"/>
                  <a:gd name="T44" fmla="*/ 240 w 297"/>
                  <a:gd name="T45" fmla="*/ 27 h 112"/>
                  <a:gd name="T46" fmla="*/ 259 w 297"/>
                  <a:gd name="T47" fmla="*/ 32 h 112"/>
                  <a:gd name="T48" fmla="*/ 273 w 297"/>
                  <a:gd name="T49" fmla="*/ 38 h 112"/>
                  <a:gd name="T50" fmla="*/ 288 w 297"/>
                  <a:gd name="T51" fmla="*/ 38 h 112"/>
                  <a:gd name="T52" fmla="*/ 288 w 297"/>
                  <a:gd name="T53" fmla="*/ 43 h 112"/>
                  <a:gd name="T54" fmla="*/ 273 w 297"/>
                  <a:gd name="T55" fmla="*/ 54 h 112"/>
                  <a:gd name="T56" fmla="*/ 254 w 297"/>
                  <a:gd name="T57" fmla="*/ 64 h 112"/>
                  <a:gd name="T58" fmla="*/ 240 w 297"/>
                  <a:gd name="T59" fmla="*/ 75 h 112"/>
                  <a:gd name="T60" fmla="*/ 221 w 297"/>
                  <a:gd name="T61" fmla="*/ 80 h 112"/>
                  <a:gd name="T62" fmla="*/ 206 w 297"/>
                  <a:gd name="T63" fmla="*/ 91 h 112"/>
                  <a:gd name="T64" fmla="*/ 187 w 297"/>
                  <a:gd name="T65" fmla="*/ 96 h 112"/>
                  <a:gd name="T66" fmla="*/ 173 w 297"/>
                  <a:gd name="T67" fmla="*/ 10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7" h="112">
                    <a:moveTo>
                      <a:pt x="163" y="107"/>
                    </a:moveTo>
                    <a:lnTo>
                      <a:pt x="158" y="112"/>
                    </a:lnTo>
                    <a:lnTo>
                      <a:pt x="149" y="112"/>
                    </a:lnTo>
                    <a:lnTo>
                      <a:pt x="144" y="107"/>
                    </a:lnTo>
                    <a:lnTo>
                      <a:pt x="134" y="107"/>
                    </a:lnTo>
                    <a:lnTo>
                      <a:pt x="130" y="107"/>
                    </a:lnTo>
                    <a:lnTo>
                      <a:pt x="125" y="102"/>
                    </a:lnTo>
                    <a:lnTo>
                      <a:pt x="115" y="102"/>
                    </a:lnTo>
                    <a:lnTo>
                      <a:pt x="110" y="102"/>
                    </a:lnTo>
                    <a:lnTo>
                      <a:pt x="106" y="102"/>
                    </a:lnTo>
                    <a:lnTo>
                      <a:pt x="101" y="102"/>
                    </a:lnTo>
                    <a:lnTo>
                      <a:pt x="96" y="102"/>
                    </a:lnTo>
                    <a:lnTo>
                      <a:pt x="91" y="96"/>
                    </a:lnTo>
                    <a:lnTo>
                      <a:pt x="82" y="96"/>
                    </a:lnTo>
                    <a:lnTo>
                      <a:pt x="67" y="96"/>
                    </a:lnTo>
                    <a:lnTo>
                      <a:pt x="58" y="91"/>
                    </a:lnTo>
                    <a:lnTo>
                      <a:pt x="48" y="86"/>
                    </a:lnTo>
                    <a:lnTo>
                      <a:pt x="34" y="86"/>
                    </a:lnTo>
                    <a:lnTo>
                      <a:pt x="24" y="80"/>
                    </a:lnTo>
                    <a:lnTo>
                      <a:pt x="10" y="80"/>
                    </a:lnTo>
                    <a:lnTo>
                      <a:pt x="0" y="75"/>
                    </a:lnTo>
                    <a:lnTo>
                      <a:pt x="10" y="75"/>
                    </a:lnTo>
                    <a:lnTo>
                      <a:pt x="24" y="70"/>
                    </a:lnTo>
                    <a:lnTo>
                      <a:pt x="34" y="64"/>
                    </a:lnTo>
                    <a:lnTo>
                      <a:pt x="43" y="59"/>
                    </a:lnTo>
                    <a:lnTo>
                      <a:pt x="53" y="54"/>
                    </a:lnTo>
                    <a:lnTo>
                      <a:pt x="63" y="48"/>
                    </a:lnTo>
                    <a:lnTo>
                      <a:pt x="77" y="43"/>
                    </a:lnTo>
                    <a:lnTo>
                      <a:pt x="86" y="38"/>
                    </a:lnTo>
                    <a:lnTo>
                      <a:pt x="96" y="32"/>
                    </a:lnTo>
                    <a:lnTo>
                      <a:pt x="106" y="27"/>
                    </a:lnTo>
                    <a:lnTo>
                      <a:pt x="120" y="27"/>
                    </a:lnTo>
                    <a:lnTo>
                      <a:pt x="130" y="22"/>
                    </a:lnTo>
                    <a:lnTo>
                      <a:pt x="139" y="16"/>
                    </a:lnTo>
                    <a:lnTo>
                      <a:pt x="149" y="11"/>
                    </a:lnTo>
                    <a:lnTo>
                      <a:pt x="163" y="6"/>
                    </a:lnTo>
                    <a:lnTo>
                      <a:pt x="173" y="0"/>
                    </a:lnTo>
                    <a:lnTo>
                      <a:pt x="182" y="6"/>
                    </a:lnTo>
                    <a:lnTo>
                      <a:pt x="187" y="6"/>
                    </a:lnTo>
                    <a:lnTo>
                      <a:pt x="197" y="11"/>
                    </a:lnTo>
                    <a:lnTo>
                      <a:pt x="202" y="11"/>
                    </a:lnTo>
                    <a:lnTo>
                      <a:pt x="211" y="16"/>
                    </a:lnTo>
                    <a:lnTo>
                      <a:pt x="221" y="22"/>
                    </a:lnTo>
                    <a:lnTo>
                      <a:pt x="225" y="22"/>
                    </a:lnTo>
                    <a:lnTo>
                      <a:pt x="235" y="22"/>
                    </a:lnTo>
                    <a:lnTo>
                      <a:pt x="240" y="27"/>
                    </a:lnTo>
                    <a:lnTo>
                      <a:pt x="249" y="27"/>
                    </a:lnTo>
                    <a:lnTo>
                      <a:pt x="259" y="32"/>
                    </a:lnTo>
                    <a:lnTo>
                      <a:pt x="264" y="32"/>
                    </a:lnTo>
                    <a:lnTo>
                      <a:pt x="273" y="38"/>
                    </a:lnTo>
                    <a:lnTo>
                      <a:pt x="278" y="38"/>
                    </a:lnTo>
                    <a:lnTo>
                      <a:pt x="288" y="38"/>
                    </a:lnTo>
                    <a:lnTo>
                      <a:pt x="297" y="43"/>
                    </a:lnTo>
                    <a:lnTo>
                      <a:pt x="288" y="43"/>
                    </a:lnTo>
                    <a:lnTo>
                      <a:pt x="278" y="48"/>
                    </a:lnTo>
                    <a:lnTo>
                      <a:pt x="273" y="54"/>
                    </a:lnTo>
                    <a:lnTo>
                      <a:pt x="264" y="59"/>
                    </a:lnTo>
                    <a:lnTo>
                      <a:pt x="254" y="64"/>
                    </a:lnTo>
                    <a:lnTo>
                      <a:pt x="245" y="70"/>
                    </a:lnTo>
                    <a:lnTo>
                      <a:pt x="240" y="75"/>
                    </a:lnTo>
                    <a:lnTo>
                      <a:pt x="230" y="75"/>
                    </a:lnTo>
                    <a:lnTo>
                      <a:pt x="221" y="80"/>
                    </a:lnTo>
                    <a:lnTo>
                      <a:pt x="216" y="86"/>
                    </a:lnTo>
                    <a:lnTo>
                      <a:pt x="206" y="91"/>
                    </a:lnTo>
                    <a:lnTo>
                      <a:pt x="197" y="96"/>
                    </a:lnTo>
                    <a:lnTo>
                      <a:pt x="187" y="96"/>
                    </a:lnTo>
                    <a:lnTo>
                      <a:pt x="182" y="102"/>
                    </a:lnTo>
                    <a:lnTo>
                      <a:pt x="173" y="107"/>
                    </a:lnTo>
                    <a:lnTo>
                      <a:pt x="163" y="10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79" name="Freeform 56">
                <a:extLst>
                  <a:ext uri="{FF2B5EF4-FFF2-40B4-BE49-F238E27FC236}">
                    <a16:creationId xmlns:a16="http://schemas.microsoft.com/office/drawing/2014/main" id="{46B23310-786F-994D-50D1-CD19E78E60F1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2376" y="2373"/>
                <a:ext cx="551" cy="176"/>
              </a:xfrm>
              <a:custGeom>
                <a:avLst/>
                <a:gdLst>
                  <a:gd name="T0" fmla="*/ 10 w 551"/>
                  <a:gd name="T1" fmla="*/ 69 h 176"/>
                  <a:gd name="T2" fmla="*/ 24 w 551"/>
                  <a:gd name="T3" fmla="*/ 59 h 176"/>
                  <a:gd name="T4" fmla="*/ 43 w 551"/>
                  <a:gd name="T5" fmla="*/ 53 h 176"/>
                  <a:gd name="T6" fmla="*/ 62 w 551"/>
                  <a:gd name="T7" fmla="*/ 43 h 176"/>
                  <a:gd name="T8" fmla="*/ 77 w 551"/>
                  <a:gd name="T9" fmla="*/ 32 h 176"/>
                  <a:gd name="T10" fmla="*/ 96 w 551"/>
                  <a:gd name="T11" fmla="*/ 27 h 176"/>
                  <a:gd name="T12" fmla="*/ 110 w 551"/>
                  <a:gd name="T13" fmla="*/ 16 h 176"/>
                  <a:gd name="T14" fmla="*/ 129 w 551"/>
                  <a:gd name="T15" fmla="*/ 5 h 176"/>
                  <a:gd name="T16" fmla="*/ 163 w 551"/>
                  <a:gd name="T17" fmla="*/ 11 h 176"/>
                  <a:gd name="T18" fmla="*/ 216 w 551"/>
                  <a:gd name="T19" fmla="*/ 27 h 176"/>
                  <a:gd name="T20" fmla="*/ 268 w 551"/>
                  <a:gd name="T21" fmla="*/ 37 h 176"/>
                  <a:gd name="T22" fmla="*/ 321 w 551"/>
                  <a:gd name="T23" fmla="*/ 53 h 176"/>
                  <a:gd name="T24" fmla="*/ 369 w 551"/>
                  <a:gd name="T25" fmla="*/ 69 h 176"/>
                  <a:gd name="T26" fmla="*/ 422 w 551"/>
                  <a:gd name="T27" fmla="*/ 80 h 176"/>
                  <a:gd name="T28" fmla="*/ 474 w 551"/>
                  <a:gd name="T29" fmla="*/ 96 h 176"/>
                  <a:gd name="T30" fmla="*/ 527 w 551"/>
                  <a:gd name="T31" fmla="*/ 107 h 176"/>
                  <a:gd name="T32" fmla="*/ 546 w 551"/>
                  <a:gd name="T33" fmla="*/ 123 h 176"/>
                  <a:gd name="T34" fmla="*/ 527 w 551"/>
                  <a:gd name="T35" fmla="*/ 128 h 176"/>
                  <a:gd name="T36" fmla="*/ 513 w 551"/>
                  <a:gd name="T37" fmla="*/ 139 h 176"/>
                  <a:gd name="T38" fmla="*/ 498 w 551"/>
                  <a:gd name="T39" fmla="*/ 144 h 176"/>
                  <a:gd name="T40" fmla="*/ 484 w 551"/>
                  <a:gd name="T41" fmla="*/ 149 h 176"/>
                  <a:gd name="T42" fmla="*/ 470 w 551"/>
                  <a:gd name="T43" fmla="*/ 160 h 176"/>
                  <a:gd name="T44" fmla="*/ 455 w 551"/>
                  <a:gd name="T45" fmla="*/ 165 h 176"/>
                  <a:gd name="T46" fmla="*/ 436 w 551"/>
                  <a:gd name="T47" fmla="*/ 171 h 176"/>
                  <a:gd name="T48" fmla="*/ 402 w 551"/>
                  <a:gd name="T49" fmla="*/ 165 h 176"/>
                  <a:gd name="T50" fmla="*/ 350 w 551"/>
                  <a:gd name="T51" fmla="*/ 155 h 176"/>
                  <a:gd name="T52" fmla="*/ 297 w 551"/>
                  <a:gd name="T53" fmla="*/ 144 h 176"/>
                  <a:gd name="T54" fmla="*/ 244 w 551"/>
                  <a:gd name="T55" fmla="*/ 128 h 176"/>
                  <a:gd name="T56" fmla="*/ 187 w 551"/>
                  <a:gd name="T57" fmla="*/ 117 h 176"/>
                  <a:gd name="T58" fmla="*/ 134 w 551"/>
                  <a:gd name="T59" fmla="*/ 101 h 176"/>
                  <a:gd name="T60" fmla="*/ 81 w 551"/>
                  <a:gd name="T61" fmla="*/ 91 h 176"/>
                  <a:gd name="T62" fmla="*/ 24 w 551"/>
                  <a:gd name="T63" fmla="*/ 7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1" h="176">
                    <a:moveTo>
                      <a:pt x="0" y="69"/>
                    </a:moveTo>
                    <a:lnTo>
                      <a:pt x="10" y="69"/>
                    </a:lnTo>
                    <a:lnTo>
                      <a:pt x="19" y="64"/>
                    </a:lnTo>
                    <a:lnTo>
                      <a:pt x="24" y="59"/>
                    </a:lnTo>
                    <a:lnTo>
                      <a:pt x="34" y="53"/>
                    </a:lnTo>
                    <a:lnTo>
                      <a:pt x="43" y="53"/>
                    </a:lnTo>
                    <a:lnTo>
                      <a:pt x="53" y="48"/>
                    </a:lnTo>
                    <a:lnTo>
                      <a:pt x="62" y="43"/>
                    </a:lnTo>
                    <a:lnTo>
                      <a:pt x="67" y="37"/>
                    </a:lnTo>
                    <a:lnTo>
                      <a:pt x="77" y="32"/>
                    </a:lnTo>
                    <a:lnTo>
                      <a:pt x="86" y="32"/>
                    </a:lnTo>
                    <a:lnTo>
                      <a:pt x="96" y="27"/>
                    </a:lnTo>
                    <a:lnTo>
                      <a:pt x="105" y="21"/>
                    </a:lnTo>
                    <a:lnTo>
                      <a:pt x="110" y="16"/>
                    </a:lnTo>
                    <a:lnTo>
                      <a:pt x="120" y="11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63" y="11"/>
                    </a:lnTo>
                    <a:lnTo>
                      <a:pt x="187" y="16"/>
                    </a:lnTo>
                    <a:lnTo>
                      <a:pt x="216" y="27"/>
                    </a:lnTo>
                    <a:lnTo>
                      <a:pt x="240" y="32"/>
                    </a:lnTo>
                    <a:lnTo>
                      <a:pt x="268" y="37"/>
                    </a:lnTo>
                    <a:lnTo>
                      <a:pt x="292" y="48"/>
                    </a:lnTo>
                    <a:lnTo>
                      <a:pt x="321" y="53"/>
                    </a:lnTo>
                    <a:lnTo>
                      <a:pt x="345" y="59"/>
                    </a:lnTo>
                    <a:lnTo>
                      <a:pt x="369" y="69"/>
                    </a:lnTo>
                    <a:lnTo>
                      <a:pt x="398" y="75"/>
                    </a:lnTo>
                    <a:lnTo>
                      <a:pt x="422" y="80"/>
                    </a:lnTo>
                    <a:lnTo>
                      <a:pt x="450" y="91"/>
                    </a:lnTo>
                    <a:lnTo>
                      <a:pt x="474" y="96"/>
                    </a:lnTo>
                    <a:lnTo>
                      <a:pt x="498" y="101"/>
                    </a:lnTo>
                    <a:lnTo>
                      <a:pt x="527" y="107"/>
                    </a:lnTo>
                    <a:lnTo>
                      <a:pt x="551" y="117"/>
                    </a:lnTo>
                    <a:lnTo>
                      <a:pt x="546" y="123"/>
                    </a:lnTo>
                    <a:lnTo>
                      <a:pt x="537" y="123"/>
                    </a:lnTo>
                    <a:lnTo>
                      <a:pt x="527" y="128"/>
                    </a:lnTo>
                    <a:lnTo>
                      <a:pt x="522" y="133"/>
                    </a:lnTo>
                    <a:lnTo>
                      <a:pt x="513" y="139"/>
                    </a:lnTo>
                    <a:lnTo>
                      <a:pt x="508" y="139"/>
                    </a:lnTo>
                    <a:lnTo>
                      <a:pt x="498" y="144"/>
                    </a:lnTo>
                    <a:lnTo>
                      <a:pt x="494" y="149"/>
                    </a:lnTo>
                    <a:lnTo>
                      <a:pt x="484" y="149"/>
                    </a:lnTo>
                    <a:lnTo>
                      <a:pt x="474" y="155"/>
                    </a:lnTo>
                    <a:lnTo>
                      <a:pt x="470" y="160"/>
                    </a:lnTo>
                    <a:lnTo>
                      <a:pt x="460" y="160"/>
                    </a:lnTo>
                    <a:lnTo>
                      <a:pt x="455" y="165"/>
                    </a:lnTo>
                    <a:lnTo>
                      <a:pt x="446" y="165"/>
                    </a:lnTo>
                    <a:lnTo>
                      <a:pt x="436" y="171"/>
                    </a:lnTo>
                    <a:lnTo>
                      <a:pt x="431" y="176"/>
                    </a:lnTo>
                    <a:lnTo>
                      <a:pt x="402" y="165"/>
                    </a:lnTo>
                    <a:lnTo>
                      <a:pt x="379" y="160"/>
                    </a:lnTo>
                    <a:lnTo>
                      <a:pt x="350" y="155"/>
                    </a:lnTo>
                    <a:lnTo>
                      <a:pt x="326" y="149"/>
                    </a:lnTo>
                    <a:lnTo>
                      <a:pt x="297" y="144"/>
                    </a:lnTo>
                    <a:lnTo>
                      <a:pt x="268" y="139"/>
                    </a:lnTo>
                    <a:lnTo>
                      <a:pt x="244" y="128"/>
                    </a:lnTo>
                    <a:lnTo>
                      <a:pt x="216" y="123"/>
                    </a:lnTo>
                    <a:lnTo>
                      <a:pt x="187" y="117"/>
                    </a:lnTo>
                    <a:lnTo>
                      <a:pt x="163" y="112"/>
                    </a:lnTo>
                    <a:lnTo>
                      <a:pt x="134" y="101"/>
                    </a:lnTo>
                    <a:lnTo>
                      <a:pt x="105" y="96"/>
                    </a:lnTo>
                    <a:lnTo>
                      <a:pt x="81" y="91"/>
                    </a:lnTo>
                    <a:lnTo>
                      <a:pt x="53" y="85"/>
                    </a:lnTo>
                    <a:lnTo>
                      <a:pt x="24" y="75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Freeform 57">
                <a:extLst>
                  <a:ext uri="{FF2B5EF4-FFF2-40B4-BE49-F238E27FC236}">
                    <a16:creationId xmlns:a16="http://schemas.microsoft.com/office/drawing/2014/main" id="{E26419F7-14D5-CF76-211F-7C3D30EF6DC0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2050" y="2384"/>
                <a:ext cx="53" cy="21"/>
              </a:xfrm>
              <a:custGeom>
                <a:avLst/>
                <a:gdLst>
                  <a:gd name="T0" fmla="*/ 53 w 53"/>
                  <a:gd name="T1" fmla="*/ 16 h 21"/>
                  <a:gd name="T2" fmla="*/ 43 w 53"/>
                  <a:gd name="T3" fmla="*/ 21 h 21"/>
                  <a:gd name="T4" fmla="*/ 38 w 53"/>
                  <a:gd name="T5" fmla="*/ 16 h 21"/>
                  <a:gd name="T6" fmla="*/ 34 w 53"/>
                  <a:gd name="T7" fmla="*/ 16 h 21"/>
                  <a:gd name="T8" fmla="*/ 29 w 53"/>
                  <a:gd name="T9" fmla="*/ 16 h 21"/>
                  <a:gd name="T10" fmla="*/ 19 w 53"/>
                  <a:gd name="T11" fmla="*/ 10 h 21"/>
                  <a:gd name="T12" fmla="*/ 14 w 53"/>
                  <a:gd name="T13" fmla="*/ 10 h 21"/>
                  <a:gd name="T14" fmla="*/ 10 w 53"/>
                  <a:gd name="T15" fmla="*/ 5 h 21"/>
                  <a:gd name="T16" fmla="*/ 0 w 53"/>
                  <a:gd name="T17" fmla="*/ 5 h 21"/>
                  <a:gd name="T18" fmla="*/ 5 w 53"/>
                  <a:gd name="T19" fmla="*/ 0 h 21"/>
                  <a:gd name="T20" fmla="*/ 10 w 53"/>
                  <a:gd name="T21" fmla="*/ 0 h 21"/>
                  <a:gd name="T22" fmla="*/ 14 w 53"/>
                  <a:gd name="T23" fmla="*/ 0 h 21"/>
                  <a:gd name="T24" fmla="*/ 19 w 53"/>
                  <a:gd name="T25" fmla="*/ 0 h 21"/>
                  <a:gd name="T26" fmla="*/ 24 w 53"/>
                  <a:gd name="T27" fmla="*/ 0 h 21"/>
                  <a:gd name="T28" fmla="*/ 29 w 53"/>
                  <a:gd name="T29" fmla="*/ 0 h 21"/>
                  <a:gd name="T30" fmla="*/ 34 w 53"/>
                  <a:gd name="T31" fmla="*/ 0 h 21"/>
                  <a:gd name="T32" fmla="*/ 38 w 53"/>
                  <a:gd name="T33" fmla="*/ 5 h 21"/>
                  <a:gd name="T34" fmla="*/ 43 w 53"/>
                  <a:gd name="T35" fmla="*/ 5 h 21"/>
                  <a:gd name="T36" fmla="*/ 48 w 53"/>
                  <a:gd name="T37" fmla="*/ 5 h 21"/>
                  <a:gd name="T38" fmla="*/ 53 w 53"/>
                  <a:gd name="T39" fmla="*/ 10 h 21"/>
                  <a:gd name="T40" fmla="*/ 53 w 53"/>
                  <a:gd name="T41" fmla="*/ 1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3" h="21">
                    <a:moveTo>
                      <a:pt x="53" y="16"/>
                    </a:moveTo>
                    <a:lnTo>
                      <a:pt x="43" y="21"/>
                    </a:lnTo>
                    <a:lnTo>
                      <a:pt x="38" y="16"/>
                    </a:lnTo>
                    <a:lnTo>
                      <a:pt x="34" y="16"/>
                    </a:lnTo>
                    <a:lnTo>
                      <a:pt x="29" y="16"/>
                    </a:lnTo>
                    <a:lnTo>
                      <a:pt x="19" y="10"/>
                    </a:lnTo>
                    <a:lnTo>
                      <a:pt x="14" y="1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5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53" y="10"/>
                    </a:lnTo>
                    <a:lnTo>
                      <a:pt x="53" y="1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1" name="Freeform 58">
                <a:extLst>
                  <a:ext uri="{FF2B5EF4-FFF2-40B4-BE49-F238E27FC236}">
                    <a16:creationId xmlns:a16="http://schemas.microsoft.com/office/drawing/2014/main" id="{BC5EB7B9-73B6-BE0D-55D1-D31E2807F393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2151" y="2405"/>
                <a:ext cx="910" cy="219"/>
              </a:xfrm>
              <a:custGeom>
                <a:avLst/>
                <a:gdLst>
                  <a:gd name="T0" fmla="*/ 910 w 910"/>
                  <a:gd name="T1" fmla="*/ 219 h 219"/>
                  <a:gd name="T2" fmla="*/ 853 w 910"/>
                  <a:gd name="T3" fmla="*/ 208 h 219"/>
                  <a:gd name="T4" fmla="*/ 795 w 910"/>
                  <a:gd name="T5" fmla="*/ 197 h 219"/>
                  <a:gd name="T6" fmla="*/ 743 w 910"/>
                  <a:gd name="T7" fmla="*/ 181 h 219"/>
                  <a:gd name="T8" fmla="*/ 685 w 910"/>
                  <a:gd name="T9" fmla="*/ 171 h 219"/>
                  <a:gd name="T10" fmla="*/ 627 w 910"/>
                  <a:gd name="T11" fmla="*/ 160 h 219"/>
                  <a:gd name="T12" fmla="*/ 570 w 910"/>
                  <a:gd name="T13" fmla="*/ 144 h 219"/>
                  <a:gd name="T14" fmla="*/ 512 w 910"/>
                  <a:gd name="T15" fmla="*/ 128 h 219"/>
                  <a:gd name="T16" fmla="*/ 455 w 910"/>
                  <a:gd name="T17" fmla="*/ 117 h 219"/>
                  <a:gd name="T18" fmla="*/ 402 w 910"/>
                  <a:gd name="T19" fmla="*/ 101 h 219"/>
                  <a:gd name="T20" fmla="*/ 345 w 910"/>
                  <a:gd name="T21" fmla="*/ 85 h 219"/>
                  <a:gd name="T22" fmla="*/ 287 w 910"/>
                  <a:gd name="T23" fmla="*/ 75 h 219"/>
                  <a:gd name="T24" fmla="*/ 230 w 910"/>
                  <a:gd name="T25" fmla="*/ 59 h 219"/>
                  <a:gd name="T26" fmla="*/ 172 w 910"/>
                  <a:gd name="T27" fmla="*/ 48 h 219"/>
                  <a:gd name="T28" fmla="*/ 115 w 910"/>
                  <a:gd name="T29" fmla="*/ 32 h 219"/>
                  <a:gd name="T30" fmla="*/ 57 w 910"/>
                  <a:gd name="T31" fmla="*/ 21 h 219"/>
                  <a:gd name="T32" fmla="*/ 0 w 910"/>
                  <a:gd name="T33" fmla="*/ 11 h 219"/>
                  <a:gd name="T34" fmla="*/ 24 w 910"/>
                  <a:gd name="T35" fmla="*/ 5 h 219"/>
                  <a:gd name="T36" fmla="*/ 81 w 910"/>
                  <a:gd name="T37" fmla="*/ 16 h 219"/>
                  <a:gd name="T38" fmla="*/ 134 w 910"/>
                  <a:gd name="T39" fmla="*/ 27 h 219"/>
                  <a:gd name="T40" fmla="*/ 191 w 910"/>
                  <a:gd name="T41" fmla="*/ 43 h 219"/>
                  <a:gd name="T42" fmla="*/ 249 w 910"/>
                  <a:gd name="T43" fmla="*/ 53 h 219"/>
                  <a:gd name="T44" fmla="*/ 306 w 910"/>
                  <a:gd name="T45" fmla="*/ 69 h 219"/>
                  <a:gd name="T46" fmla="*/ 364 w 910"/>
                  <a:gd name="T47" fmla="*/ 80 h 219"/>
                  <a:gd name="T48" fmla="*/ 421 w 910"/>
                  <a:gd name="T49" fmla="*/ 96 h 219"/>
                  <a:gd name="T50" fmla="*/ 479 w 910"/>
                  <a:gd name="T51" fmla="*/ 107 h 219"/>
                  <a:gd name="T52" fmla="*/ 541 w 910"/>
                  <a:gd name="T53" fmla="*/ 123 h 219"/>
                  <a:gd name="T54" fmla="*/ 599 w 910"/>
                  <a:gd name="T55" fmla="*/ 139 h 219"/>
                  <a:gd name="T56" fmla="*/ 656 w 910"/>
                  <a:gd name="T57" fmla="*/ 149 h 219"/>
                  <a:gd name="T58" fmla="*/ 714 w 910"/>
                  <a:gd name="T59" fmla="*/ 165 h 219"/>
                  <a:gd name="T60" fmla="*/ 771 w 910"/>
                  <a:gd name="T61" fmla="*/ 176 h 219"/>
                  <a:gd name="T62" fmla="*/ 824 w 910"/>
                  <a:gd name="T63" fmla="*/ 192 h 219"/>
                  <a:gd name="T64" fmla="*/ 881 w 910"/>
                  <a:gd name="T65" fmla="*/ 20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0" h="219">
                    <a:moveTo>
                      <a:pt x="910" y="213"/>
                    </a:moveTo>
                    <a:lnTo>
                      <a:pt x="910" y="219"/>
                    </a:lnTo>
                    <a:lnTo>
                      <a:pt x="881" y="213"/>
                    </a:lnTo>
                    <a:lnTo>
                      <a:pt x="853" y="208"/>
                    </a:lnTo>
                    <a:lnTo>
                      <a:pt x="824" y="203"/>
                    </a:lnTo>
                    <a:lnTo>
                      <a:pt x="795" y="197"/>
                    </a:lnTo>
                    <a:lnTo>
                      <a:pt x="771" y="192"/>
                    </a:lnTo>
                    <a:lnTo>
                      <a:pt x="743" y="181"/>
                    </a:lnTo>
                    <a:lnTo>
                      <a:pt x="714" y="176"/>
                    </a:lnTo>
                    <a:lnTo>
                      <a:pt x="685" y="171"/>
                    </a:lnTo>
                    <a:lnTo>
                      <a:pt x="656" y="165"/>
                    </a:lnTo>
                    <a:lnTo>
                      <a:pt x="627" y="160"/>
                    </a:lnTo>
                    <a:lnTo>
                      <a:pt x="599" y="149"/>
                    </a:lnTo>
                    <a:lnTo>
                      <a:pt x="570" y="144"/>
                    </a:lnTo>
                    <a:lnTo>
                      <a:pt x="541" y="139"/>
                    </a:lnTo>
                    <a:lnTo>
                      <a:pt x="512" y="128"/>
                    </a:lnTo>
                    <a:lnTo>
                      <a:pt x="484" y="123"/>
                    </a:lnTo>
                    <a:lnTo>
                      <a:pt x="455" y="117"/>
                    </a:lnTo>
                    <a:lnTo>
                      <a:pt x="431" y="107"/>
                    </a:lnTo>
                    <a:lnTo>
                      <a:pt x="402" y="101"/>
                    </a:lnTo>
                    <a:lnTo>
                      <a:pt x="374" y="96"/>
                    </a:lnTo>
                    <a:lnTo>
                      <a:pt x="345" y="85"/>
                    </a:lnTo>
                    <a:lnTo>
                      <a:pt x="316" y="80"/>
                    </a:lnTo>
                    <a:lnTo>
                      <a:pt x="287" y="75"/>
                    </a:lnTo>
                    <a:lnTo>
                      <a:pt x="259" y="69"/>
                    </a:lnTo>
                    <a:lnTo>
                      <a:pt x="230" y="59"/>
                    </a:lnTo>
                    <a:lnTo>
                      <a:pt x="201" y="53"/>
                    </a:lnTo>
                    <a:lnTo>
                      <a:pt x="172" y="48"/>
                    </a:lnTo>
                    <a:lnTo>
                      <a:pt x="143" y="43"/>
                    </a:lnTo>
                    <a:lnTo>
                      <a:pt x="115" y="32"/>
                    </a:lnTo>
                    <a:lnTo>
                      <a:pt x="86" y="27"/>
                    </a:lnTo>
                    <a:lnTo>
                      <a:pt x="57" y="21"/>
                    </a:lnTo>
                    <a:lnTo>
                      <a:pt x="28" y="16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24" y="5"/>
                    </a:lnTo>
                    <a:lnTo>
                      <a:pt x="52" y="11"/>
                    </a:lnTo>
                    <a:lnTo>
                      <a:pt x="81" y="16"/>
                    </a:lnTo>
                    <a:lnTo>
                      <a:pt x="105" y="21"/>
                    </a:lnTo>
                    <a:lnTo>
                      <a:pt x="134" y="27"/>
                    </a:lnTo>
                    <a:lnTo>
                      <a:pt x="163" y="37"/>
                    </a:lnTo>
                    <a:lnTo>
                      <a:pt x="191" y="43"/>
                    </a:lnTo>
                    <a:lnTo>
                      <a:pt x="220" y="48"/>
                    </a:lnTo>
                    <a:lnTo>
                      <a:pt x="249" y="53"/>
                    </a:lnTo>
                    <a:lnTo>
                      <a:pt x="278" y="64"/>
                    </a:lnTo>
                    <a:lnTo>
                      <a:pt x="306" y="69"/>
                    </a:lnTo>
                    <a:lnTo>
                      <a:pt x="335" y="75"/>
                    </a:lnTo>
                    <a:lnTo>
                      <a:pt x="364" y="80"/>
                    </a:lnTo>
                    <a:lnTo>
                      <a:pt x="393" y="91"/>
                    </a:lnTo>
                    <a:lnTo>
                      <a:pt x="421" y="96"/>
                    </a:lnTo>
                    <a:lnTo>
                      <a:pt x="450" y="101"/>
                    </a:lnTo>
                    <a:lnTo>
                      <a:pt x="479" y="107"/>
                    </a:lnTo>
                    <a:lnTo>
                      <a:pt x="508" y="117"/>
                    </a:lnTo>
                    <a:lnTo>
                      <a:pt x="541" y="123"/>
                    </a:lnTo>
                    <a:lnTo>
                      <a:pt x="570" y="128"/>
                    </a:lnTo>
                    <a:lnTo>
                      <a:pt x="599" y="139"/>
                    </a:lnTo>
                    <a:lnTo>
                      <a:pt x="627" y="144"/>
                    </a:lnTo>
                    <a:lnTo>
                      <a:pt x="656" y="149"/>
                    </a:lnTo>
                    <a:lnTo>
                      <a:pt x="685" y="160"/>
                    </a:lnTo>
                    <a:lnTo>
                      <a:pt x="714" y="165"/>
                    </a:lnTo>
                    <a:lnTo>
                      <a:pt x="743" y="171"/>
                    </a:lnTo>
                    <a:lnTo>
                      <a:pt x="771" y="176"/>
                    </a:lnTo>
                    <a:lnTo>
                      <a:pt x="795" y="187"/>
                    </a:lnTo>
                    <a:lnTo>
                      <a:pt x="824" y="192"/>
                    </a:lnTo>
                    <a:lnTo>
                      <a:pt x="853" y="197"/>
                    </a:lnTo>
                    <a:lnTo>
                      <a:pt x="881" y="208"/>
                    </a:lnTo>
                    <a:lnTo>
                      <a:pt x="910" y="213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2" name="Freeform 59">
                <a:extLst>
                  <a:ext uri="{FF2B5EF4-FFF2-40B4-BE49-F238E27FC236}">
                    <a16:creationId xmlns:a16="http://schemas.microsoft.com/office/drawing/2014/main" id="{2643F0BA-8509-4346-B064-3A8C215118D7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3047" y="2464"/>
                <a:ext cx="33" cy="533"/>
              </a:xfrm>
              <a:custGeom>
                <a:avLst/>
                <a:gdLst>
                  <a:gd name="T0" fmla="*/ 33 w 33"/>
                  <a:gd name="T1" fmla="*/ 0 h 533"/>
                  <a:gd name="T2" fmla="*/ 14 w 33"/>
                  <a:gd name="T3" fmla="*/ 528 h 533"/>
                  <a:gd name="T4" fmla="*/ 0 w 33"/>
                  <a:gd name="T5" fmla="*/ 533 h 533"/>
                  <a:gd name="T6" fmla="*/ 24 w 33"/>
                  <a:gd name="T7" fmla="*/ 5 h 533"/>
                  <a:gd name="T8" fmla="*/ 33 w 33"/>
                  <a:gd name="T9" fmla="*/ 0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33">
                    <a:moveTo>
                      <a:pt x="33" y="0"/>
                    </a:moveTo>
                    <a:lnTo>
                      <a:pt x="14" y="528"/>
                    </a:lnTo>
                    <a:lnTo>
                      <a:pt x="0" y="533"/>
                    </a:lnTo>
                    <a:lnTo>
                      <a:pt x="24" y="5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3" name="Freeform 60">
                <a:extLst>
                  <a:ext uri="{FF2B5EF4-FFF2-40B4-BE49-F238E27FC236}">
                    <a16:creationId xmlns:a16="http://schemas.microsoft.com/office/drawing/2014/main" id="{5FEF3B2A-FF9F-1095-71A4-655763D27671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3066" y="2464"/>
                <a:ext cx="34" cy="528"/>
              </a:xfrm>
              <a:custGeom>
                <a:avLst/>
                <a:gdLst>
                  <a:gd name="T0" fmla="*/ 34 w 34"/>
                  <a:gd name="T1" fmla="*/ 10 h 528"/>
                  <a:gd name="T2" fmla="*/ 29 w 34"/>
                  <a:gd name="T3" fmla="*/ 144 h 528"/>
                  <a:gd name="T4" fmla="*/ 24 w 34"/>
                  <a:gd name="T5" fmla="*/ 266 h 528"/>
                  <a:gd name="T6" fmla="*/ 24 w 34"/>
                  <a:gd name="T7" fmla="*/ 400 h 528"/>
                  <a:gd name="T8" fmla="*/ 24 w 34"/>
                  <a:gd name="T9" fmla="*/ 528 h 528"/>
                  <a:gd name="T10" fmla="*/ 24 w 34"/>
                  <a:gd name="T11" fmla="*/ 528 h 528"/>
                  <a:gd name="T12" fmla="*/ 19 w 34"/>
                  <a:gd name="T13" fmla="*/ 528 h 528"/>
                  <a:gd name="T14" fmla="*/ 14 w 34"/>
                  <a:gd name="T15" fmla="*/ 528 h 528"/>
                  <a:gd name="T16" fmla="*/ 14 w 34"/>
                  <a:gd name="T17" fmla="*/ 528 h 528"/>
                  <a:gd name="T18" fmla="*/ 10 w 34"/>
                  <a:gd name="T19" fmla="*/ 528 h 528"/>
                  <a:gd name="T20" fmla="*/ 10 w 34"/>
                  <a:gd name="T21" fmla="*/ 528 h 528"/>
                  <a:gd name="T22" fmla="*/ 5 w 34"/>
                  <a:gd name="T23" fmla="*/ 528 h 528"/>
                  <a:gd name="T24" fmla="*/ 0 w 34"/>
                  <a:gd name="T25" fmla="*/ 528 h 528"/>
                  <a:gd name="T26" fmla="*/ 5 w 34"/>
                  <a:gd name="T27" fmla="*/ 400 h 528"/>
                  <a:gd name="T28" fmla="*/ 10 w 34"/>
                  <a:gd name="T29" fmla="*/ 266 h 528"/>
                  <a:gd name="T30" fmla="*/ 14 w 34"/>
                  <a:gd name="T31" fmla="*/ 133 h 528"/>
                  <a:gd name="T32" fmla="*/ 19 w 34"/>
                  <a:gd name="T33" fmla="*/ 0 h 528"/>
                  <a:gd name="T34" fmla="*/ 24 w 34"/>
                  <a:gd name="T35" fmla="*/ 5 h 528"/>
                  <a:gd name="T36" fmla="*/ 29 w 34"/>
                  <a:gd name="T37" fmla="*/ 5 h 528"/>
                  <a:gd name="T38" fmla="*/ 29 w 34"/>
                  <a:gd name="T39" fmla="*/ 10 h 528"/>
                  <a:gd name="T40" fmla="*/ 34 w 34"/>
                  <a:gd name="T41" fmla="*/ 1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528">
                    <a:moveTo>
                      <a:pt x="34" y="10"/>
                    </a:moveTo>
                    <a:lnTo>
                      <a:pt x="29" y="144"/>
                    </a:lnTo>
                    <a:lnTo>
                      <a:pt x="24" y="266"/>
                    </a:lnTo>
                    <a:lnTo>
                      <a:pt x="24" y="400"/>
                    </a:lnTo>
                    <a:lnTo>
                      <a:pt x="24" y="528"/>
                    </a:lnTo>
                    <a:lnTo>
                      <a:pt x="24" y="528"/>
                    </a:lnTo>
                    <a:lnTo>
                      <a:pt x="19" y="528"/>
                    </a:lnTo>
                    <a:lnTo>
                      <a:pt x="14" y="528"/>
                    </a:lnTo>
                    <a:lnTo>
                      <a:pt x="14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5" y="528"/>
                    </a:lnTo>
                    <a:lnTo>
                      <a:pt x="0" y="528"/>
                    </a:lnTo>
                    <a:lnTo>
                      <a:pt x="5" y="400"/>
                    </a:lnTo>
                    <a:lnTo>
                      <a:pt x="10" y="266"/>
                    </a:lnTo>
                    <a:lnTo>
                      <a:pt x="14" y="133"/>
                    </a:lnTo>
                    <a:lnTo>
                      <a:pt x="19" y="0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4" name="Freeform 61">
                <a:extLst>
                  <a:ext uri="{FF2B5EF4-FFF2-40B4-BE49-F238E27FC236}">
                    <a16:creationId xmlns:a16="http://schemas.microsoft.com/office/drawing/2014/main" id="{DF04F833-587A-7B45-138B-90A7CB36D7EF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auto">
              <a:xfrm>
                <a:off x="2817" y="2490"/>
                <a:ext cx="215" cy="86"/>
              </a:xfrm>
              <a:custGeom>
                <a:avLst/>
                <a:gdLst>
                  <a:gd name="T0" fmla="*/ 110 w 215"/>
                  <a:gd name="T1" fmla="*/ 86 h 86"/>
                  <a:gd name="T2" fmla="*/ 0 w 215"/>
                  <a:gd name="T3" fmla="*/ 59 h 86"/>
                  <a:gd name="T4" fmla="*/ 9 w 215"/>
                  <a:gd name="T5" fmla="*/ 59 h 86"/>
                  <a:gd name="T6" fmla="*/ 14 w 215"/>
                  <a:gd name="T7" fmla="*/ 54 h 86"/>
                  <a:gd name="T8" fmla="*/ 24 w 215"/>
                  <a:gd name="T9" fmla="*/ 48 h 86"/>
                  <a:gd name="T10" fmla="*/ 29 w 215"/>
                  <a:gd name="T11" fmla="*/ 48 h 86"/>
                  <a:gd name="T12" fmla="*/ 38 w 215"/>
                  <a:gd name="T13" fmla="*/ 43 h 86"/>
                  <a:gd name="T14" fmla="*/ 48 w 215"/>
                  <a:gd name="T15" fmla="*/ 38 h 86"/>
                  <a:gd name="T16" fmla="*/ 53 w 215"/>
                  <a:gd name="T17" fmla="*/ 32 h 86"/>
                  <a:gd name="T18" fmla="*/ 62 w 215"/>
                  <a:gd name="T19" fmla="*/ 32 h 86"/>
                  <a:gd name="T20" fmla="*/ 72 w 215"/>
                  <a:gd name="T21" fmla="*/ 27 h 86"/>
                  <a:gd name="T22" fmla="*/ 77 w 215"/>
                  <a:gd name="T23" fmla="*/ 22 h 86"/>
                  <a:gd name="T24" fmla="*/ 86 w 215"/>
                  <a:gd name="T25" fmla="*/ 22 h 86"/>
                  <a:gd name="T26" fmla="*/ 96 w 215"/>
                  <a:gd name="T27" fmla="*/ 16 h 86"/>
                  <a:gd name="T28" fmla="*/ 100 w 215"/>
                  <a:gd name="T29" fmla="*/ 11 h 86"/>
                  <a:gd name="T30" fmla="*/ 110 w 215"/>
                  <a:gd name="T31" fmla="*/ 6 h 86"/>
                  <a:gd name="T32" fmla="*/ 115 w 215"/>
                  <a:gd name="T33" fmla="*/ 6 h 86"/>
                  <a:gd name="T34" fmla="*/ 124 w 215"/>
                  <a:gd name="T35" fmla="*/ 0 h 86"/>
                  <a:gd name="T36" fmla="*/ 215 w 215"/>
                  <a:gd name="T37" fmla="*/ 27 h 86"/>
                  <a:gd name="T38" fmla="*/ 110 w 215"/>
                  <a:gd name="T3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5" h="86">
                    <a:moveTo>
                      <a:pt x="110" y="86"/>
                    </a:moveTo>
                    <a:lnTo>
                      <a:pt x="0" y="59"/>
                    </a:lnTo>
                    <a:lnTo>
                      <a:pt x="9" y="59"/>
                    </a:lnTo>
                    <a:lnTo>
                      <a:pt x="14" y="54"/>
                    </a:lnTo>
                    <a:lnTo>
                      <a:pt x="24" y="48"/>
                    </a:lnTo>
                    <a:lnTo>
                      <a:pt x="29" y="48"/>
                    </a:lnTo>
                    <a:lnTo>
                      <a:pt x="38" y="43"/>
                    </a:lnTo>
                    <a:lnTo>
                      <a:pt x="48" y="38"/>
                    </a:lnTo>
                    <a:lnTo>
                      <a:pt x="53" y="32"/>
                    </a:lnTo>
                    <a:lnTo>
                      <a:pt x="62" y="32"/>
                    </a:lnTo>
                    <a:lnTo>
                      <a:pt x="72" y="27"/>
                    </a:lnTo>
                    <a:lnTo>
                      <a:pt x="77" y="22"/>
                    </a:lnTo>
                    <a:lnTo>
                      <a:pt x="86" y="22"/>
                    </a:lnTo>
                    <a:lnTo>
                      <a:pt x="96" y="16"/>
                    </a:lnTo>
                    <a:lnTo>
                      <a:pt x="100" y="11"/>
                    </a:lnTo>
                    <a:lnTo>
                      <a:pt x="110" y="6"/>
                    </a:lnTo>
                    <a:lnTo>
                      <a:pt x="115" y="6"/>
                    </a:lnTo>
                    <a:lnTo>
                      <a:pt x="124" y="0"/>
                    </a:lnTo>
                    <a:lnTo>
                      <a:pt x="215" y="27"/>
                    </a:lnTo>
                    <a:lnTo>
                      <a:pt x="110" y="8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5" name="Freeform 62">
                <a:extLst>
                  <a:ext uri="{FF2B5EF4-FFF2-40B4-BE49-F238E27FC236}">
                    <a16:creationId xmlns:a16="http://schemas.microsoft.com/office/drawing/2014/main" id="{55FE3746-D029-BDC2-5EC1-6761F0B6E60C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auto">
              <a:xfrm>
                <a:off x="2937" y="2522"/>
                <a:ext cx="129" cy="86"/>
              </a:xfrm>
              <a:custGeom>
                <a:avLst/>
                <a:gdLst>
                  <a:gd name="T0" fmla="*/ 129 w 129"/>
                  <a:gd name="T1" fmla="*/ 6 h 86"/>
                  <a:gd name="T2" fmla="*/ 124 w 129"/>
                  <a:gd name="T3" fmla="*/ 86 h 86"/>
                  <a:gd name="T4" fmla="*/ 115 w 129"/>
                  <a:gd name="T5" fmla="*/ 86 h 86"/>
                  <a:gd name="T6" fmla="*/ 105 w 129"/>
                  <a:gd name="T7" fmla="*/ 80 h 86"/>
                  <a:gd name="T8" fmla="*/ 100 w 129"/>
                  <a:gd name="T9" fmla="*/ 80 h 86"/>
                  <a:gd name="T10" fmla="*/ 91 w 129"/>
                  <a:gd name="T11" fmla="*/ 80 h 86"/>
                  <a:gd name="T12" fmla="*/ 86 w 129"/>
                  <a:gd name="T13" fmla="*/ 75 h 86"/>
                  <a:gd name="T14" fmla="*/ 76 w 129"/>
                  <a:gd name="T15" fmla="*/ 75 h 86"/>
                  <a:gd name="T16" fmla="*/ 72 w 129"/>
                  <a:gd name="T17" fmla="*/ 75 h 86"/>
                  <a:gd name="T18" fmla="*/ 62 w 129"/>
                  <a:gd name="T19" fmla="*/ 70 h 86"/>
                  <a:gd name="T20" fmla="*/ 52 w 129"/>
                  <a:gd name="T21" fmla="*/ 70 h 86"/>
                  <a:gd name="T22" fmla="*/ 48 w 129"/>
                  <a:gd name="T23" fmla="*/ 70 h 86"/>
                  <a:gd name="T24" fmla="*/ 38 w 129"/>
                  <a:gd name="T25" fmla="*/ 64 h 86"/>
                  <a:gd name="T26" fmla="*/ 33 w 129"/>
                  <a:gd name="T27" fmla="*/ 64 h 86"/>
                  <a:gd name="T28" fmla="*/ 24 w 129"/>
                  <a:gd name="T29" fmla="*/ 64 h 86"/>
                  <a:gd name="T30" fmla="*/ 14 w 129"/>
                  <a:gd name="T31" fmla="*/ 59 h 86"/>
                  <a:gd name="T32" fmla="*/ 9 w 129"/>
                  <a:gd name="T33" fmla="*/ 59 h 86"/>
                  <a:gd name="T34" fmla="*/ 0 w 129"/>
                  <a:gd name="T35" fmla="*/ 54 h 86"/>
                  <a:gd name="T36" fmla="*/ 14 w 129"/>
                  <a:gd name="T37" fmla="*/ 48 h 86"/>
                  <a:gd name="T38" fmla="*/ 24 w 129"/>
                  <a:gd name="T39" fmla="*/ 43 h 86"/>
                  <a:gd name="T40" fmla="*/ 38 w 129"/>
                  <a:gd name="T41" fmla="*/ 32 h 86"/>
                  <a:gd name="T42" fmla="*/ 52 w 129"/>
                  <a:gd name="T43" fmla="*/ 27 h 86"/>
                  <a:gd name="T44" fmla="*/ 62 w 129"/>
                  <a:gd name="T45" fmla="*/ 22 h 86"/>
                  <a:gd name="T46" fmla="*/ 76 w 129"/>
                  <a:gd name="T47" fmla="*/ 16 h 86"/>
                  <a:gd name="T48" fmla="*/ 91 w 129"/>
                  <a:gd name="T49" fmla="*/ 6 h 86"/>
                  <a:gd name="T50" fmla="*/ 105 w 129"/>
                  <a:gd name="T51" fmla="*/ 0 h 86"/>
                  <a:gd name="T52" fmla="*/ 105 w 129"/>
                  <a:gd name="T53" fmla="*/ 0 h 86"/>
                  <a:gd name="T54" fmla="*/ 110 w 129"/>
                  <a:gd name="T55" fmla="*/ 0 h 86"/>
                  <a:gd name="T56" fmla="*/ 115 w 129"/>
                  <a:gd name="T57" fmla="*/ 0 h 86"/>
                  <a:gd name="T58" fmla="*/ 115 w 129"/>
                  <a:gd name="T59" fmla="*/ 0 h 86"/>
                  <a:gd name="T60" fmla="*/ 119 w 129"/>
                  <a:gd name="T61" fmla="*/ 6 h 86"/>
                  <a:gd name="T62" fmla="*/ 119 w 129"/>
                  <a:gd name="T63" fmla="*/ 6 h 86"/>
                  <a:gd name="T64" fmla="*/ 124 w 129"/>
                  <a:gd name="T65" fmla="*/ 6 h 86"/>
                  <a:gd name="T66" fmla="*/ 129 w 129"/>
                  <a:gd name="T67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" h="86">
                    <a:moveTo>
                      <a:pt x="129" y="6"/>
                    </a:moveTo>
                    <a:lnTo>
                      <a:pt x="124" y="86"/>
                    </a:lnTo>
                    <a:lnTo>
                      <a:pt x="115" y="86"/>
                    </a:lnTo>
                    <a:lnTo>
                      <a:pt x="105" y="80"/>
                    </a:lnTo>
                    <a:lnTo>
                      <a:pt x="100" y="80"/>
                    </a:lnTo>
                    <a:lnTo>
                      <a:pt x="91" y="80"/>
                    </a:lnTo>
                    <a:lnTo>
                      <a:pt x="86" y="75"/>
                    </a:lnTo>
                    <a:lnTo>
                      <a:pt x="76" y="75"/>
                    </a:lnTo>
                    <a:lnTo>
                      <a:pt x="72" y="75"/>
                    </a:lnTo>
                    <a:lnTo>
                      <a:pt x="6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38" y="64"/>
                    </a:lnTo>
                    <a:lnTo>
                      <a:pt x="33" y="64"/>
                    </a:lnTo>
                    <a:lnTo>
                      <a:pt x="24" y="64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0" y="54"/>
                    </a:lnTo>
                    <a:lnTo>
                      <a:pt x="14" y="48"/>
                    </a:lnTo>
                    <a:lnTo>
                      <a:pt x="24" y="43"/>
                    </a:lnTo>
                    <a:lnTo>
                      <a:pt x="38" y="32"/>
                    </a:lnTo>
                    <a:lnTo>
                      <a:pt x="52" y="27"/>
                    </a:lnTo>
                    <a:lnTo>
                      <a:pt x="62" y="22"/>
                    </a:lnTo>
                    <a:lnTo>
                      <a:pt x="76" y="16"/>
                    </a:lnTo>
                    <a:lnTo>
                      <a:pt x="91" y="6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110" y="0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19" y="6"/>
                    </a:lnTo>
                    <a:lnTo>
                      <a:pt x="119" y="6"/>
                    </a:lnTo>
                    <a:lnTo>
                      <a:pt x="124" y="6"/>
                    </a:lnTo>
                    <a:lnTo>
                      <a:pt x="12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6" name="Freeform 63">
                <a:extLst>
                  <a:ext uri="{FF2B5EF4-FFF2-40B4-BE49-F238E27FC236}">
                    <a16:creationId xmlns:a16="http://schemas.microsoft.com/office/drawing/2014/main" id="{75DD623F-621A-9628-39FF-1D0DFC825B21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auto">
              <a:xfrm>
                <a:off x="3100" y="2538"/>
                <a:ext cx="19" cy="86"/>
              </a:xfrm>
              <a:custGeom>
                <a:avLst/>
                <a:gdLst>
                  <a:gd name="T0" fmla="*/ 19 w 19"/>
                  <a:gd name="T1" fmla="*/ 6 h 86"/>
                  <a:gd name="T2" fmla="*/ 19 w 19"/>
                  <a:gd name="T3" fmla="*/ 27 h 86"/>
                  <a:gd name="T4" fmla="*/ 19 w 19"/>
                  <a:gd name="T5" fmla="*/ 48 h 86"/>
                  <a:gd name="T6" fmla="*/ 19 w 19"/>
                  <a:gd name="T7" fmla="*/ 64 h 86"/>
                  <a:gd name="T8" fmla="*/ 14 w 19"/>
                  <a:gd name="T9" fmla="*/ 86 h 86"/>
                  <a:gd name="T10" fmla="*/ 9 w 19"/>
                  <a:gd name="T11" fmla="*/ 86 h 86"/>
                  <a:gd name="T12" fmla="*/ 4 w 19"/>
                  <a:gd name="T13" fmla="*/ 80 h 86"/>
                  <a:gd name="T14" fmla="*/ 4 w 19"/>
                  <a:gd name="T15" fmla="*/ 80 h 86"/>
                  <a:gd name="T16" fmla="*/ 0 w 19"/>
                  <a:gd name="T17" fmla="*/ 75 h 86"/>
                  <a:gd name="T18" fmla="*/ 4 w 19"/>
                  <a:gd name="T19" fmla="*/ 64 h 86"/>
                  <a:gd name="T20" fmla="*/ 4 w 19"/>
                  <a:gd name="T21" fmla="*/ 43 h 86"/>
                  <a:gd name="T22" fmla="*/ 4 w 19"/>
                  <a:gd name="T23" fmla="*/ 22 h 86"/>
                  <a:gd name="T24" fmla="*/ 4 w 19"/>
                  <a:gd name="T25" fmla="*/ 0 h 86"/>
                  <a:gd name="T26" fmla="*/ 9 w 19"/>
                  <a:gd name="T27" fmla="*/ 0 h 86"/>
                  <a:gd name="T28" fmla="*/ 14 w 19"/>
                  <a:gd name="T29" fmla="*/ 0 h 86"/>
                  <a:gd name="T30" fmla="*/ 19 w 19"/>
                  <a:gd name="T31" fmla="*/ 6 h 86"/>
                  <a:gd name="T32" fmla="*/ 19 w 19"/>
                  <a:gd name="T33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86">
                    <a:moveTo>
                      <a:pt x="19" y="6"/>
                    </a:moveTo>
                    <a:lnTo>
                      <a:pt x="19" y="27"/>
                    </a:lnTo>
                    <a:lnTo>
                      <a:pt x="19" y="48"/>
                    </a:lnTo>
                    <a:lnTo>
                      <a:pt x="19" y="64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0" y="75"/>
                    </a:lnTo>
                    <a:lnTo>
                      <a:pt x="4" y="64"/>
                    </a:lnTo>
                    <a:lnTo>
                      <a:pt x="4" y="43"/>
                    </a:lnTo>
                    <a:lnTo>
                      <a:pt x="4" y="2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9" y="6"/>
                    </a:lnTo>
                    <a:lnTo>
                      <a:pt x="1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7" name="Freeform 64">
                <a:extLst>
                  <a:ext uri="{FF2B5EF4-FFF2-40B4-BE49-F238E27FC236}">
                    <a16:creationId xmlns:a16="http://schemas.microsoft.com/office/drawing/2014/main" id="{062A0833-EF75-DD33-3241-52B6B9927160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auto">
              <a:xfrm>
                <a:off x="2041" y="2688"/>
                <a:ext cx="23" cy="149"/>
              </a:xfrm>
              <a:custGeom>
                <a:avLst/>
                <a:gdLst>
                  <a:gd name="T0" fmla="*/ 23 w 23"/>
                  <a:gd name="T1" fmla="*/ 144 h 149"/>
                  <a:gd name="T2" fmla="*/ 19 w 23"/>
                  <a:gd name="T3" fmla="*/ 149 h 149"/>
                  <a:gd name="T4" fmla="*/ 19 w 23"/>
                  <a:gd name="T5" fmla="*/ 149 h 149"/>
                  <a:gd name="T6" fmla="*/ 14 w 23"/>
                  <a:gd name="T7" fmla="*/ 149 h 149"/>
                  <a:gd name="T8" fmla="*/ 9 w 23"/>
                  <a:gd name="T9" fmla="*/ 149 h 149"/>
                  <a:gd name="T10" fmla="*/ 9 w 23"/>
                  <a:gd name="T11" fmla="*/ 149 h 149"/>
                  <a:gd name="T12" fmla="*/ 4 w 23"/>
                  <a:gd name="T13" fmla="*/ 149 h 149"/>
                  <a:gd name="T14" fmla="*/ 0 w 23"/>
                  <a:gd name="T15" fmla="*/ 149 h 149"/>
                  <a:gd name="T16" fmla="*/ 0 w 23"/>
                  <a:gd name="T17" fmla="*/ 149 h 149"/>
                  <a:gd name="T18" fmla="*/ 0 w 23"/>
                  <a:gd name="T19" fmla="*/ 117 h 149"/>
                  <a:gd name="T20" fmla="*/ 0 w 23"/>
                  <a:gd name="T21" fmla="*/ 85 h 149"/>
                  <a:gd name="T22" fmla="*/ 0 w 23"/>
                  <a:gd name="T23" fmla="*/ 48 h 149"/>
                  <a:gd name="T24" fmla="*/ 0 w 23"/>
                  <a:gd name="T25" fmla="*/ 16 h 149"/>
                  <a:gd name="T26" fmla="*/ 4 w 23"/>
                  <a:gd name="T27" fmla="*/ 10 h 149"/>
                  <a:gd name="T28" fmla="*/ 4 w 23"/>
                  <a:gd name="T29" fmla="*/ 10 h 149"/>
                  <a:gd name="T30" fmla="*/ 9 w 23"/>
                  <a:gd name="T31" fmla="*/ 10 h 149"/>
                  <a:gd name="T32" fmla="*/ 9 w 23"/>
                  <a:gd name="T33" fmla="*/ 10 h 149"/>
                  <a:gd name="T34" fmla="*/ 14 w 23"/>
                  <a:gd name="T35" fmla="*/ 5 h 149"/>
                  <a:gd name="T36" fmla="*/ 19 w 23"/>
                  <a:gd name="T37" fmla="*/ 5 h 149"/>
                  <a:gd name="T38" fmla="*/ 19 w 23"/>
                  <a:gd name="T39" fmla="*/ 5 h 149"/>
                  <a:gd name="T40" fmla="*/ 23 w 23"/>
                  <a:gd name="T41" fmla="*/ 0 h 149"/>
                  <a:gd name="T42" fmla="*/ 23 w 23"/>
                  <a:gd name="T43" fmla="*/ 14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49">
                    <a:moveTo>
                      <a:pt x="23" y="144"/>
                    </a:moveTo>
                    <a:lnTo>
                      <a:pt x="19" y="149"/>
                    </a:lnTo>
                    <a:lnTo>
                      <a:pt x="19" y="149"/>
                    </a:lnTo>
                    <a:lnTo>
                      <a:pt x="14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4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17"/>
                    </a:lnTo>
                    <a:lnTo>
                      <a:pt x="0" y="85"/>
                    </a:lnTo>
                    <a:lnTo>
                      <a:pt x="0" y="48"/>
                    </a:lnTo>
                    <a:lnTo>
                      <a:pt x="0" y="1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4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23" y="0"/>
                    </a:lnTo>
                    <a:lnTo>
                      <a:pt x="23" y="144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8" name="Freeform 65">
                <a:extLst>
                  <a:ext uri="{FF2B5EF4-FFF2-40B4-BE49-F238E27FC236}">
                    <a16:creationId xmlns:a16="http://schemas.microsoft.com/office/drawing/2014/main" id="{BF9E5B33-919A-79EB-9EC5-FC693326A241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auto">
              <a:xfrm>
                <a:off x="2064" y="2688"/>
                <a:ext cx="39" cy="144"/>
              </a:xfrm>
              <a:custGeom>
                <a:avLst/>
                <a:gdLst>
                  <a:gd name="T0" fmla="*/ 39 w 39"/>
                  <a:gd name="T1" fmla="*/ 144 h 144"/>
                  <a:gd name="T2" fmla="*/ 34 w 39"/>
                  <a:gd name="T3" fmla="*/ 144 h 144"/>
                  <a:gd name="T4" fmla="*/ 29 w 39"/>
                  <a:gd name="T5" fmla="*/ 144 h 144"/>
                  <a:gd name="T6" fmla="*/ 24 w 39"/>
                  <a:gd name="T7" fmla="*/ 144 h 144"/>
                  <a:gd name="T8" fmla="*/ 20 w 39"/>
                  <a:gd name="T9" fmla="*/ 144 h 144"/>
                  <a:gd name="T10" fmla="*/ 15 w 39"/>
                  <a:gd name="T11" fmla="*/ 144 h 144"/>
                  <a:gd name="T12" fmla="*/ 10 w 39"/>
                  <a:gd name="T13" fmla="*/ 144 h 144"/>
                  <a:gd name="T14" fmla="*/ 5 w 39"/>
                  <a:gd name="T15" fmla="*/ 144 h 144"/>
                  <a:gd name="T16" fmla="*/ 0 w 39"/>
                  <a:gd name="T17" fmla="*/ 138 h 144"/>
                  <a:gd name="T18" fmla="*/ 0 w 39"/>
                  <a:gd name="T19" fmla="*/ 106 h 144"/>
                  <a:gd name="T20" fmla="*/ 0 w 39"/>
                  <a:gd name="T21" fmla="*/ 69 h 144"/>
                  <a:gd name="T22" fmla="*/ 0 w 39"/>
                  <a:gd name="T23" fmla="*/ 37 h 144"/>
                  <a:gd name="T24" fmla="*/ 0 w 39"/>
                  <a:gd name="T25" fmla="*/ 0 h 144"/>
                  <a:gd name="T26" fmla="*/ 5 w 39"/>
                  <a:gd name="T27" fmla="*/ 0 h 144"/>
                  <a:gd name="T28" fmla="*/ 10 w 39"/>
                  <a:gd name="T29" fmla="*/ 0 h 144"/>
                  <a:gd name="T30" fmla="*/ 15 w 39"/>
                  <a:gd name="T31" fmla="*/ 0 h 144"/>
                  <a:gd name="T32" fmla="*/ 20 w 39"/>
                  <a:gd name="T33" fmla="*/ 5 h 144"/>
                  <a:gd name="T34" fmla="*/ 24 w 39"/>
                  <a:gd name="T35" fmla="*/ 5 h 144"/>
                  <a:gd name="T36" fmla="*/ 29 w 39"/>
                  <a:gd name="T37" fmla="*/ 5 h 144"/>
                  <a:gd name="T38" fmla="*/ 29 w 39"/>
                  <a:gd name="T39" fmla="*/ 5 h 144"/>
                  <a:gd name="T40" fmla="*/ 34 w 39"/>
                  <a:gd name="T41" fmla="*/ 5 h 144"/>
                  <a:gd name="T42" fmla="*/ 39 w 39"/>
                  <a:gd name="T43" fmla="*/ 42 h 144"/>
                  <a:gd name="T44" fmla="*/ 39 w 39"/>
                  <a:gd name="T45" fmla="*/ 74 h 144"/>
                  <a:gd name="T46" fmla="*/ 34 w 39"/>
                  <a:gd name="T47" fmla="*/ 112 h 144"/>
                  <a:gd name="T48" fmla="*/ 39 w 39"/>
                  <a:gd name="T4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" h="144">
                    <a:moveTo>
                      <a:pt x="39" y="144"/>
                    </a:moveTo>
                    <a:lnTo>
                      <a:pt x="34" y="144"/>
                    </a:lnTo>
                    <a:lnTo>
                      <a:pt x="29" y="144"/>
                    </a:lnTo>
                    <a:lnTo>
                      <a:pt x="24" y="144"/>
                    </a:lnTo>
                    <a:lnTo>
                      <a:pt x="20" y="144"/>
                    </a:lnTo>
                    <a:lnTo>
                      <a:pt x="15" y="144"/>
                    </a:lnTo>
                    <a:lnTo>
                      <a:pt x="10" y="144"/>
                    </a:lnTo>
                    <a:lnTo>
                      <a:pt x="5" y="144"/>
                    </a:lnTo>
                    <a:lnTo>
                      <a:pt x="0" y="138"/>
                    </a:lnTo>
                    <a:lnTo>
                      <a:pt x="0" y="106"/>
                    </a:lnTo>
                    <a:lnTo>
                      <a:pt x="0" y="69"/>
                    </a:lnTo>
                    <a:lnTo>
                      <a:pt x="0" y="37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5" y="0"/>
                    </a:lnTo>
                    <a:lnTo>
                      <a:pt x="20" y="5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34" y="5"/>
                    </a:lnTo>
                    <a:lnTo>
                      <a:pt x="39" y="42"/>
                    </a:lnTo>
                    <a:lnTo>
                      <a:pt x="39" y="74"/>
                    </a:lnTo>
                    <a:lnTo>
                      <a:pt x="34" y="112"/>
                    </a:lnTo>
                    <a:lnTo>
                      <a:pt x="39" y="1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9" name="Freeform 66">
                <a:extLst>
                  <a:ext uri="{FF2B5EF4-FFF2-40B4-BE49-F238E27FC236}">
                    <a16:creationId xmlns:a16="http://schemas.microsoft.com/office/drawing/2014/main" id="{09DBE1B3-9F9C-C081-F732-6B5DE1F1C61B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auto">
              <a:xfrm>
                <a:off x="2156" y="2704"/>
                <a:ext cx="167" cy="133"/>
              </a:xfrm>
              <a:custGeom>
                <a:avLst/>
                <a:gdLst>
                  <a:gd name="T0" fmla="*/ 14 w 167"/>
                  <a:gd name="T1" fmla="*/ 133 h 133"/>
                  <a:gd name="T2" fmla="*/ 0 w 167"/>
                  <a:gd name="T3" fmla="*/ 133 h 133"/>
                  <a:gd name="T4" fmla="*/ 0 w 167"/>
                  <a:gd name="T5" fmla="*/ 0 h 133"/>
                  <a:gd name="T6" fmla="*/ 167 w 167"/>
                  <a:gd name="T7" fmla="*/ 26 h 133"/>
                  <a:gd name="T8" fmla="*/ 14 w 167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33">
                    <a:moveTo>
                      <a:pt x="14" y="133"/>
                    </a:moveTo>
                    <a:lnTo>
                      <a:pt x="0" y="133"/>
                    </a:lnTo>
                    <a:lnTo>
                      <a:pt x="0" y="0"/>
                    </a:lnTo>
                    <a:lnTo>
                      <a:pt x="167" y="26"/>
                    </a:lnTo>
                    <a:lnTo>
                      <a:pt x="14" y="13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0" name="Freeform 67">
                <a:extLst>
                  <a:ext uri="{FF2B5EF4-FFF2-40B4-BE49-F238E27FC236}">
                    <a16:creationId xmlns:a16="http://schemas.microsoft.com/office/drawing/2014/main" id="{0D0892BF-77E6-A6AA-F496-D2F75C2790CC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auto">
              <a:xfrm>
                <a:off x="2184" y="2730"/>
                <a:ext cx="264" cy="118"/>
              </a:xfrm>
              <a:custGeom>
                <a:avLst/>
                <a:gdLst>
                  <a:gd name="T0" fmla="*/ 259 w 264"/>
                  <a:gd name="T1" fmla="*/ 22 h 118"/>
                  <a:gd name="T2" fmla="*/ 240 w 264"/>
                  <a:gd name="T3" fmla="*/ 32 h 118"/>
                  <a:gd name="T4" fmla="*/ 226 w 264"/>
                  <a:gd name="T5" fmla="*/ 48 h 118"/>
                  <a:gd name="T6" fmla="*/ 206 w 264"/>
                  <a:gd name="T7" fmla="*/ 59 h 118"/>
                  <a:gd name="T8" fmla="*/ 187 w 264"/>
                  <a:gd name="T9" fmla="*/ 75 h 118"/>
                  <a:gd name="T10" fmla="*/ 168 w 264"/>
                  <a:gd name="T11" fmla="*/ 86 h 118"/>
                  <a:gd name="T12" fmla="*/ 149 w 264"/>
                  <a:gd name="T13" fmla="*/ 96 h 118"/>
                  <a:gd name="T14" fmla="*/ 130 w 264"/>
                  <a:gd name="T15" fmla="*/ 112 h 118"/>
                  <a:gd name="T16" fmla="*/ 115 w 264"/>
                  <a:gd name="T17" fmla="*/ 118 h 118"/>
                  <a:gd name="T18" fmla="*/ 101 w 264"/>
                  <a:gd name="T19" fmla="*/ 112 h 118"/>
                  <a:gd name="T20" fmla="*/ 87 w 264"/>
                  <a:gd name="T21" fmla="*/ 112 h 118"/>
                  <a:gd name="T22" fmla="*/ 72 w 264"/>
                  <a:gd name="T23" fmla="*/ 112 h 118"/>
                  <a:gd name="T24" fmla="*/ 53 w 264"/>
                  <a:gd name="T25" fmla="*/ 112 h 118"/>
                  <a:gd name="T26" fmla="*/ 39 w 264"/>
                  <a:gd name="T27" fmla="*/ 112 h 118"/>
                  <a:gd name="T28" fmla="*/ 24 w 264"/>
                  <a:gd name="T29" fmla="*/ 112 h 118"/>
                  <a:gd name="T30" fmla="*/ 10 w 264"/>
                  <a:gd name="T31" fmla="*/ 107 h 118"/>
                  <a:gd name="T32" fmla="*/ 10 w 264"/>
                  <a:gd name="T33" fmla="*/ 102 h 118"/>
                  <a:gd name="T34" fmla="*/ 29 w 264"/>
                  <a:gd name="T35" fmla="*/ 86 h 118"/>
                  <a:gd name="T36" fmla="*/ 48 w 264"/>
                  <a:gd name="T37" fmla="*/ 75 h 118"/>
                  <a:gd name="T38" fmla="*/ 67 w 264"/>
                  <a:gd name="T39" fmla="*/ 59 h 118"/>
                  <a:gd name="T40" fmla="*/ 82 w 264"/>
                  <a:gd name="T41" fmla="*/ 48 h 118"/>
                  <a:gd name="T42" fmla="*/ 101 w 264"/>
                  <a:gd name="T43" fmla="*/ 32 h 118"/>
                  <a:gd name="T44" fmla="*/ 120 w 264"/>
                  <a:gd name="T45" fmla="*/ 22 h 118"/>
                  <a:gd name="T46" fmla="*/ 139 w 264"/>
                  <a:gd name="T47" fmla="*/ 6 h 118"/>
                  <a:gd name="T48" fmla="*/ 154 w 264"/>
                  <a:gd name="T49" fmla="*/ 0 h 118"/>
                  <a:gd name="T50" fmla="*/ 168 w 264"/>
                  <a:gd name="T51" fmla="*/ 0 h 118"/>
                  <a:gd name="T52" fmla="*/ 182 w 264"/>
                  <a:gd name="T53" fmla="*/ 0 h 118"/>
                  <a:gd name="T54" fmla="*/ 197 w 264"/>
                  <a:gd name="T55" fmla="*/ 6 h 118"/>
                  <a:gd name="T56" fmla="*/ 216 w 264"/>
                  <a:gd name="T57" fmla="*/ 11 h 118"/>
                  <a:gd name="T58" fmla="*/ 230 w 264"/>
                  <a:gd name="T59" fmla="*/ 11 h 118"/>
                  <a:gd name="T60" fmla="*/ 245 w 264"/>
                  <a:gd name="T61" fmla="*/ 11 h 118"/>
                  <a:gd name="T62" fmla="*/ 259 w 264"/>
                  <a:gd name="T63" fmla="*/ 1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4" h="118">
                    <a:moveTo>
                      <a:pt x="264" y="16"/>
                    </a:moveTo>
                    <a:lnTo>
                      <a:pt x="259" y="22"/>
                    </a:lnTo>
                    <a:lnTo>
                      <a:pt x="249" y="27"/>
                    </a:lnTo>
                    <a:lnTo>
                      <a:pt x="240" y="32"/>
                    </a:lnTo>
                    <a:lnTo>
                      <a:pt x="230" y="43"/>
                    </a:lnTo>
                    <a:lnTo>
                      <a:pt x="226" y="48"/>
                    </a:lnTo>
                    <a:lnTo>
                      <a:pt x="216" y="54"/>
                    </a:lnTo>
                    <a:lnTo>
                      <a:pt x="206" y="59"/>
                    </a:lnTo>
                    <a:lnTo>
                      <a:pt x="197" y="64"/>
                    </a:lnTo>
                    <a:lnTo>
                      <a:pt x="187" y="75"/>
                    </a:lnTo>
                    <a:lnTo>
                      <a:pt x="178" y="80"/>
                    </a:lnTo>
                    <a:lnTo>
                      <a:pt x="168" y="86"/>
                    </a:lnTo>
                    <a:lnTo>
                      <a:pt x="158" y="91"/>
                    </a:lnTo>
                    <a:lnTo>
                      <a:pt x="149" y="96"/>
                    </a:lnTo>
                    <a:lnTo>
                      <a:pt x="139" y="102"/>
                    </a:lnTo>
                    <a:lnTo>
                      <a:pt x="130" y="112"/>
                    </a:lnTo>
                    <a:lnTo>
                      <a:pt x="125" y="118"/>
                    </a:lnTo>
                    <a:lnTo>
                      <a:pt x="115" y="118"/>
                    </a:lnTo>
                    <a:lnTo>
                      <a:pt x="106" y="112"/>
                    </a:lnTo>
                    <a:lnTo>
                      <a:pt x="101" y="112"/>
                    </a:lnTo>
                    <a:lnTo>
                      <a:pt x="91" y="112"/>
                    </a:lnTo>
                    <a:lnTo>
                      <a:pt x="87" y="112"/>
                    </a:lnTo>
                    <a:lnTo>
                      <a:pt x="77" y="112"/>
                    </a:lnTo>
                    <a:lnTo>
                      <a:pt x="72" y="112"/>
                    </a:lnTo>
                    <a:lnTo>
                      <a:pt x="63" y="112"/>
                    </a:lnTo>
                    <a:lnTo>
                      <a:pt x="53" y="112"/>
                    </a:lnTo>
                    <a:lnTo>
                      <a:pt x="48" y="112"/>
                    </a:lnTo>
                    <a:lnTo>
                      <a:pt x="39" y="112"/>
                    </a:lnTo>
                    <a:lnTo>
                      <a:pt x="29" y="112"/>
                    </a:lnTo>
                    <a:lnTo>
                      <a:pt x="24" y="112"/>
                    </a:lnTo>
                    <a:lnTo>
                      <a:pt x="15" y="10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10" y="102"/>
                    </a:lnTo>
                    <a:lnTo>
                      <a:pt x="19" y="96"/>
                    </a:lnTo>
                    <a:lnTo>
                      <a:pt x="29" y="86"/>
                    </a:lnTo>
                    <a:lnTo>
                      <a:pt x="39" y="80"/>
                    </a:lnTo>
                    <a:lnTo>
                      <a:pt x="48" y="75"/>
                    </a:lnTo>
                    <a:lnTo>
                      <a:pt x="58" y="70"/>
                    </a:lnTo>
                    <a:lnTo>
                      <a:pt x="67" y="59"/>
                    </a:lnTo>
                    <a:lnTo>
                      <a:pt x="77" y="54"/>
                    </a:lnTo>
                    <a:lnTo>
                      <a:pt x="82" y="48"/>
                    </a:lnTo>
                    <a:lnTo>
                      <a:pt x="91" y="43"/>
                    </a:lnTo>
                    <a:lnTo>
                      <a:pt x="101" y="32"/>
                    </a:lnTo>
                    <a:lnTo>
                      <a:pt x="110" y="27"/>
                    </a:lnTo>
                    <a:lnTo>
                      <a:pt x="120" y="22"/>
                    </a:lnTo>
                    <a:lnTo>
                      <a:pt x="130" y="16"/>
                    </a:lnTo>
                    <a:lnTo>
                      <a:pt x="139" y="6"/>
                    </a:lnTo>
                    <a:lnTo>
                      <a:pt x="149" y="0"/>
                    </a:lnTo>
                    <a:lnTo>
                      <a:pt x="154" y="0"/>
                    </a:lnTo>
                    <a:lnTo>
                      <a:pt x="158" y="0"/>
                    </a:lnTo>
                    <a:lnTo>
                      <a:pt x="168" y="0"/>
                    </a:lnTo>
                    <a:lnTo>
                      <a:pt x="173" y="0"/>
                    </a:lnTo>
                    <a:lnTo>
                      <a:pt x="182" y="0"/>
                    </a:lnTo>
                    <a:lnTo>
                      <a:pt x="192" y="6"/>
                    </a:lnTo>
                    <a:lnTo>
                      <a:pt x="197" y="6"/>
                    </a:lnTo>
                    <a:lnTo>
                      <a:pt x="206" y="6"/>
                    </a:lnTo>
                    <a:lnTo>
                      <a:pt x="216" y="11"/>
                    </a:lnTo>
                    <a:lnTo>
                      <a:pt x="226" y="11"/>
                    </a:lnTo>
                    <a:lnTo>
                      <a:pt x="230" y="11"/>
                    </a:lnTo>
                    <a:lnTo>
                      <a:pt x="240" y="11"/>
                    </a:lnTo>
                    <a:lnTo>
                      <a:pt x="245" y="11"/>
                    </a:lnTo>
                    <a:lnTo>
                      <a:pt x="254" y="16"/>
                    </a:lnTo>
                    <a:lnTo>
                      <a:pt x="259" y="16"/>
                    </a:lnTo>
                    <a:lnTo>
                      <a:pt x="264" y="1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1" name="Freeform 68">
                <a:extLst>
                  <a:ext uri="{FF2B5EF4-FFF2-40B4-BE49-F238E27FC236}">
                    <a16:creationId xmlns:a16="http://schemas.microsoft.com/office/drawing/2014/main" id="{C77C93B8-7398-B42B-5B2F-E9CC51E248E7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auto">
              <a:xfrm>
                <a:off x="2314" y="2746"/>
                <a:ext cx="522" cy="134"/>
              </a:xfrm>
              <a:custGeom>
                <a:avLst/>
                <a:gdLst>
                  <a:gd name="T0" fmla="*/ 522 w 522"/>
                  <a:gd name="T1" fmla="*/ 54 h 134"/>
                  <a:gd name="T2" fmla="*/ 412 w 522"/>
                  <a:gd name="T3" fmla="*/ 134 h 134"/>
                  <a:gd name="T4" fmla="*/ 0 w 522"/>
                  <a:gd name="T5" fmla="*/ 102 h 134"/>
                  <a:gd name="T6" fmla="*/ 148 w 522"/>
                  <a:gd name="T7" fmla="*/ 0 h 134"/>
                  <a:gd name="T8" fmla="*/ 167 w 522"/>
                  <a:gd name="T9" fmla="*/ 6 h 134"/>
                  <a:gd name="T10" fmla="*/ 191 w 522"/>
                  <a:gd name="T11" fmla="*/ 11 h 134"/>
                  <a:gd name="T12" fmla="*/ 215 w 522"/>
                  <a:gd name="T13" fmla="*/ 11 h 134"/>
                  <a:gd name="T14" fmla="*/ 239 w 522"/>
                  <a:gd name="T15" fmla="*/ 16 h 134"/>
                  <a:gd name="T16" fmla="*/ 263 w 522"/>
                  <a:gd name="T17" fmla="*/ 16 h 134"/>
                  <a:gd name="T18" fmla="*/ 287 w 522"/>
                  <a:gd name="T19" fmla="*/ 22 h 134"/>
                  <a:gd name="T20" fmla="*/ 311 w 522"/>
                  <a:gd name="T21" fmla="*/ 22 h 134"/>
                  <a:gd name="T22" fmla="*/ 335 w 522"/>
                  <a:gd name="T23" fmla="*/ 27 h 134"/>
                  <a:gd name="T24" fmla="*/ 359 w 522"/>
                  <a:gd name="T25" fmla="*/ 27 h 134"/>
                  <a:gd name="T26" fmla="*/ 383 w 522"/>
                  <a:gd name="T27" fmla="*/ 32 h 134"/>
                  <a:gd name="T28" fmla="*/ 407 w 522"/>
                  <a:gd name="T29" fmla="*/ 38 h 134"/>
                  <a:gd name="T30" fmla="*/ 431 w 522"/>
                  <a:gd name="T31" fmla="*/ 38 h 134"/>
                  <a:gd name="T32" fmla="*/ 455 w 522"/>
                  <a:gd name="T33" fmla="*/ 43 h 134"/>
                  <a:gd name="T34" fmla="*/ 474 w 522"/>
                  <a:gd name="T35" fmla="*/ 43 h 134"/>
                  <a:gd name="T36" fmla="*/ 498 w 522"/>
                  <a:gd name="T37" fmla="*/ 48 h 134"/>
                  <a:gd name="T38" fmla="*/ 522 w 522"/>
                  <a:gd name="T39" fmla="*/ 5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2" h="134">
                    <a:moveTo>
                      <a:pt x="522" y="54"/>
                    </a:moveTo>
                    <a:lnTo>
                      <a:pt x="412" y="134"/>
                    </a:lnTo>
                    <a:lnTo>
                      <a:pt x="0" y="102"/>
                    </a:lnTo>
                    <a:lnTo>
                      <a:pt x="148" y="0"/>
                    </a:lnTo>
                    <a:lnTo>
                      <a:pt x="167" y="6"/>
                    </a:lnTo>
                    <a:lnTo>
                      <a:pt x="191" y="11"/>
                    </a:lnTo>
                    <a:lnTo>
                      <a:pt x="215" y="11"/>
                    </a:lnTo>
                    <a:lnTo>
                      <a:pt x="239" y="16"/>
                    </a:lnTo>
                    <a:lnTo>
                      <a:pt x="263" y="16"/>
                    </a:lnTo>
                    <a:lnTo>
                      <a:pt x="287" y="22"/>
                    </a:lnTo>
                    <a:lnTo>
                      <a:pt x="311" y="22"/>
                    </a:lnTo>
                    <a:lnTo>
                      <a:pt x="335" y="27"/>
                    </a:lnTo>
                    <a:lnTo>
                      <a:pt x="359" y="27"/>
                    </a:lnTo>
                    <a:lnTo>
                      <a:pt x="383" y="32"/>
                    </a:lnTo>
                    <a:lnTo>
                      <a:pt x="407" y="38"/>
                    </a:lnTo>
                    <a:lnTo>
                      <a:pt x="431" y="38"/>
                    </a:lnTo>
                    <a:lnTo>
                      <a:pt x="455" y="43"/>
                    </a:lnTo>
                    <a:lnTo>
                      <a:pt x="474" y="43"/>
                    </a:lnTo>
                    <a:lnTo>
                      <a:pt x="498" y="48"/>
                    </a:lnTo>
                    <a:lnTo>
                      <a:pt x="52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2" name="Freeform 69">
                <a:extLst>
                  <a:ext uri="{FF2B5EF4-FFF2-40B4-BE49-F238E27FC236}">
                    <a16:creationId xmlns:a16="http://schemas.microsoft.com/office/drawing/2014/main" id="{F9694B08-9993-0594-4E45-297B430BADAE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auto">
              <a:xfrm>
                <a:off x="2731" y="2800"/>
                <a:ext cx="206" cy="90"/>
              </a:xfrm>
              <a:custGeom>
                <a:avLst/>
                <a:gdLst>
                  <a:gd name="T0" fmla="*/ 95 w 206"/>
                  <a:gd name="T1" fmla="*/ 90 h 90"/>
                  <a:gd name="T2" fmla="*/ 0 w 206"/>
                  <a:gd name="T3" fmla="*/ 85 h 90"/>
                  <a:gd name="T4" fmla="*/ 110 w 206"/>
                  <a:gd name="T5" fmla="*/ 0 h 90"/>
                  <a:gd name="T6" fmla="*/ 206 w 206"/>
                  <a:gd name="T7" fmla="*/ 10 h 90"/>
                  <a:gd name="T8" fmla="*/ 95 w 206"/>
                  <a:gd name="T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90">
                    <a:moveTo>
                      <a:pt x="95" y="90"/>
                    </a:moveTo>
                    <a:lnTo>
                      <a:pt x="0" y="85"/>
                    </a:lnTo>
                    <a:lnTo>
                      <a:pt x="110" y="0"/>
                    </a:lnTo>
                    <a:lnTo>
                      <a:pt x="206" y="10"/>
                    </a:lnTo>
                    <a:lnTo>
                      <a:pt x="95" y="9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3" name="Freeform 70">
                <a:extLst>
                  <a:ext uri="{FF2B5EF4-FFF2-40B4-BE49-F238E27FC236}">
                    <a16:creationId xmlns:a16="http://schemas.microsoft.com/office/drawing/2014/main" id="{0500AAAC-D9C0-25F9-8FC3-5E1F39AEBFBD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auto">
              <a:xfrm>
                <a:off x="2831" y="2810"/>
                <a:ext cx="221" cy="96"/>
              </a:xfrm>
              <a:custGeom>
                <a:avLst/>
                <a:gdLst>
                  <a:gd name="T0" fmla="*/ 221 w 221"/>
                  <a:gd name="T1" fmla="*/ 16 h 96"/>
                  <a:gd name="T2" fmla="*/ 216 w 221"/>
                  <a:gd name="T3" fmla="*/ 96 h 96"/>
                  <a:gd name="T4" fmla="*/ 0 w 221"/>
                  <a:gd name="T5" fmla="*/ 80 h 96"/>
                  <a:gd name="T6" fmla="*/ 110 w 221"/>
                  <a:gd name="T7" fmla="*/ 0 h 96"/>
                  <a:gd name="T8" fmla="*/ 221 w 221"/>
                  <a:gd name="T9" fmla="*/ 1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96">
                    <a:moveTo>
                      <a:pt x="221" y="16"/>
                    </a:moveTo>
                    <a:lnTo>
                      <a:pt x="216" y="96"/>
                    </a:lnTo>
                    <a:lnTo>
                      <a:pt x="0" y="80"/>
                    </a:lnTo>
                    <a:lnTo>
                      <a:pt x="110" y="0"/>
                    </a:lnTo>
                    <a:lnTo>
                      <a:pt x="221" y="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4" name="Freeform 71">
                <a:extLst>
                  <a:ext uri="{FF2B5EF4-FFF2-40B4-BE49-F238E27FC236}">
                    <a16:creationId xmlns:a16="http://schemas.microsoft.com/office/drawing/2014/main" id="{3E4A9432-6E14-1F30-292F-E672DF9E3B04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auto">
              <a:xfrm>
                <a:off x="3095" y="2837"/>
                <a:ext cx="14" cy="69"/>
              </a:xfrm>
              <a:custGeom>
                <a:avLst/>
                <a:gdLst>
                  <a:gd name="T0" fmla="*/ 14 w 14"/>
                  <a:gd name="T1" fmla="*/ 32 h 69"/>
                  <a:gd name="T2" fmla="*/ 14 w 14"/>
                  <a:gd name="T3" fmla="*/ 69 h 69"/>
                  <a:gd name="T4" fmla="*/ 9 w 14"/>
                  <a:gd name="T5" fmla="*/ 69 h 69"/>
                  <a:gd name="T6" fmla="*/ 5 w 14"/>
                  <a:gd name="T7" fmla="*/ 69 h 69"/>
                  <a:gd name="T8" fmla="*/ 5 w 14"/>
                  <a:gd name="T9" fmla="*/ 69 h 69"/>
                  <a:gd name="T10" fmla="*/ 0 w 14"/>
                  <a:gd name="T11" fmla="*/ 69 h 69"/>
                  <a:gd name="T12" fmla="*/ 0 w 14"/>
                  <a:gd name="T13" fmla="*/ 5 h 69"/>
                  <a:gd name="T14" fmla="*/ 5 w 14"/>
                  <a:gd name="T15" fmla="*/ 0 h 69"/>
                  <a:gd name="T16" fmla="*/ 9 w 14"/>
                  <a:gd name="T17" fmla="*/ 0 h 69"/>
                  <a:gd name="T18" fmla="*/ 14 w 14"/>
                  <a:gd name="T19" fmla="*/ 0 h 69"/>
                  <a:gd name="T20" fmla="*/ 14 w 14"/>
                  <a:gd name="T21" fmla="*/ 5 h 69"/>
                  <a:gd name="T22" fmla="*/ 14 w 14"/>
                  <a:gd name="T23" fmla="*/ 11 h 69"/>
                  <a:gd name="T24" fmla="*/ 14 w 14"/>
                  <a:gd name="T25" fmla="*/ 21 h 69"/>
                  <a:gd name="T26" fmla="*/ 14 w 14"/>
                  <a:gd name="T27" fmla="*/ 27 h 69"/>
                  <a:gd name="T28" fmla="*/ 14 w 14"/>
                  <a:gd name="T29" fmla="*/ 3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69">
                    <a:moveTo>
                      <a:pt x="14" y="32"/>
                    </a:moveTo>
                    <a:lnTo>
                      <a:pt x="14" y="69"/>
                    </a:lnTo>
                    <a:lnTo>
                      <a:pt x="9" y="69"/>
                    </a:lnTo>
                    <a:lnTo>
                      <a:pt x="5" y="69"/>
                    </a:lnTo>
                    <a:lnTo>
                      <a:pt x="5" y="69"/>
                    </a:lnTo>
                    <a:lnTo>
                      <a:pt x="0" y="69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4" y="11"/>
                    </a:lnTo>
                    <a:lnTo>
                      <a:pt x="14" y="21"/>
                    </a:lnTo>
                    <a:lnTo>
                      <a:pt x="14" y="27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5" name="Freeform 72">
                <a:extLst>
                  <a:ext uri="{FF2B5EF4-FFF2-40B4-BE49-F238E27FC236}">
                    <a16:creationId xmlns:a16="http://schemas.microsoft.com/office/drawing/2014/main" id="{0CEFC340-1AA3-619B-91DE-D6828123C07D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auto">
              <a:xfrm>
                <a:off x="2050" y="2842"/>
                <a:ext cx="53" cy="6"/>
              </a:xfrm>
              <a:custGeom>
                <a:avLst/>
                <a:gdLst>
                  <a:gd name="T0" fmla="*/ 53 w 53"/>
                  <a:gd name="T1" fmla="*/ 6 h 6"/>
                  <a:gd name="T2" fmla="*/ 43 w 53"/>
                  <a:gd name="T3" fmla="*/ 6 h 6"/>
                  <a:gd name="T4" fmla="*/ 38 w 53"/>
                  <a:gd name="T5" fmla="*/ 6 h 6"/>
                  <a:gd name="T6" fmla="*/ 34 w 53"/>
                  <a:gd name="T7" fmla="*/ 6 h 6"/>
                  <a:gd name="T8" fmla="*/ 24 w 53"/>
                  <a:gd name="T9" fmla="*/ 6 h 6"/>
                  <a:gd name="T10" fmla="*/ 19 w 53"/>
                  <a:gd name="T11" fmla="*/ 6 h 6"/>
                  <a:gd name="T12" fmla="*/ 14 w 53"/>
                  <a:gd name="T13" fmla="*/ 6 h 6"/>
                  <a:gd name="T14" fmla="*/ 5 w 53"/>
                  <a:gd name="T15" fmla="*/ 6 h 6"/>
                  <a:gd name="T16" fmla="*/ 0 w 53"/>
                  <a:gd name="T17" fmla="*/ 6 h 6"/>
                  <a:gd name="T18" fmla="*/ 5 w 53"/>
                  <a:gd name="T19" fmla="*/ 6 h 6"/>
                  <a:gd name="T20" fmla="*/ 5 w 53"/>
                  <a:gd name="T21" fmla="*/ 0 h 6"/>
                  <a:gd name="T22" fmla="*/ 10 w 53"/>
                  <a:gd name="T23" fmla="*/ 0 h 6"/>
                  <a:gd name="T24" fmla="*/ 14 w 53"/>
                  <a:gd name="T25" fmla="*/ 0 h 6"/>
                  <a:gd name="T26" fmla="*/ 14 w 53"/>
                  <a:gd name="T27" fmla="*/ 0 h 6"/>
                  <a:gd name="T28" fmla="*/ 19 w 53"/>
                  <a:gd name="T29" fmla="*/ 0 h 6"/>
                  <a:gd name="T30" fmla="*/ 19 w 53"/>
                  <a:gd name="T31" fmla="*/ 0 h 6"/>
                  <a:gd name="T32" fmla="*/ 24 w 53"/>
                  <a:gd name="T33" fmla="*/ 0 h 6"/>
                  <a:gd name="T34" fmla="*/ 29 w 53"/>
                  <a:gd name="T35" fmla="*/ 0 h 6"/>
                  <a:gd name="T36" fmla="*/ 29 w 53"/>
                  <a:gd name="T37" fmla="*/ 0 h 6"/>
                  <a:gd name="T38" fmla="*/ 34 w 53"/>
                  <a:gd name="T39" fmla="*/ 0 h 6"/>
                  <a:gd name="T40" fmla="*/ 38 w 53"/>
                  <a:gd name="T41" fmla="*/ 0 h 6"/>
                  <a:gd name="T42" fmla="*/ 43 w 53"/>
                  <a:gd name="T43" fmla="*/ 0 h 6"/>
                  <a:gd name="T44" fmla="*/ 43 w 53"/>
                  <a:gd name="T45" fmla="*/ 0 h 6"/>
                  <a:gd name="T46" fmla="*/ 48 w 53"/>
                  <a:gd name="T47" fmla="*/ 6 h 6"/>
                  <a:gd name="T48" fmla="*/ 53 w 53"/>
                  <a:gd name="T49" fmla="*/ 6 h 6"/>
                  <a:gd name="T50" fmla="*/ 53 w 53"/>
                  <a:gd name="T5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3" h="6">
                    <a:moveTo>
                      <a:pt x="53" y="6"/>
                    </a:moveTo>
                    <a:lnTo>
                      <a:pt x="43" y="6"/>
                    </a:lnTo>
                    <a:lnTo>
                      <a:pt x="38" y="6"/>
                    </a:lnTo>
                    <a:lnTo>
                      <a:pt x="34" y="6"/>
                    </a:lnTo>
                    <a:lnTo>
                      <a:pt x="24" y="6"/>
                    </a:lnTo>
                    <a:lnTo>
                      <a:pt x="19" y="6"/>
                    </a:lnTo>
                    <a:lnTo>
                      <a:pt x="14" y="6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8" y="6"/>
                    </a:lnTo>
                    <a:lnTo>
                      <a:pt x="53" y="6"/>
                    </a:lnTo>
                    <a:lnTo>
                      <a:pt x="53" y="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6" name="Freeform 73">
                <a:extLst>
                  <a:ext uri="{FF2B5EF4-FFF2-40B4-BE49-F238E27FC236}">
                    <a16:creationId xmlns:a16="http://schemas.microsoft.com/office/drawing/2014/main" id="{A5B5E44C-8C13-7711-0DBB-58BF1CF4A2CE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auto">
              <a:xfrm>
                <a:off x="2156" y="2842"/>
                <a:ext cx="891" cy="80"/>
              </a:xfrm>
              <a:custGeom>
                <a:avLst/>
                <a:gdLst>
                  <a:gd name="T0" fmla="*/ 891 w 891"/>
                  <a:gd name="T1" fmla="*/ 70 h 80"/>
                  <a:gd name="T2" fmla="*/ 891 w 891"/>
                  <a:gd name="T3" fmla="*/ 80 h 80"/>
                  <a:gd name="T4" fmla="*/ 0 w 891"/>
                  <a:gd name="T5" fmla="*/ 16 h 80"/>
                  <a:gd name="T6" fmla="*/ 0 w 891"/>
                  <a:gd name="T7" fmla="*/ 0 h 80"/>
                  <a:gd name="T8" fmla="*/ 891 w 891"/>
                  <a:gd name="T9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1" h="80">
                    <a:moveTo>
                      <a:pt x="891" y="70"/>
                    </a:moveTo>
                    <a:lnTo>
                      <a:pt x="891" y="80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891" y="70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97" name="Freeform 74">
                <a:extLst>
                  <a:ext uri="{FF2B5EF4-FFF2-40B4-BE49-F238E27FC236}">
                    <a16:creationId xmlns:a16="http://schemas.microsoft.com/office/drawing/2014/main" id="{4AD202FB-6A99-3772-FC17-1CB03E6A5219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auto">
              <a:xfrm>
                <a:off x="3095" y="2912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0 h 5"/>
                  <a:gd name="T4" fmla="*/ 5 w 5"/>
                  <a:gd name="T5" fmla="*/ 0 h 5"/>
                  <a:gd name="T6" fmla="*/ 0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4" name="Group 75">
              <a:extLst>
                <a:ext uri="{FF2B5EF4-FFF2-40B4-BE49-F238E27FC236}">
                  <a16:creationId xmlns:a16="http://schemas.microsoft.com/office/drawing/2014/main" id="{282FC0C6-D629-680C-D6A3-F12517E90653}"/>
                </a:ext>
              </a:extLst>
            </p:cNvPr>
            <p:cNvGrpSpPr>
              <a:grpSpLocks/>
            </p:cNvGrpSpPr>
            <p:nvPr/>
          </p:nvGrpSpPr>
          <p:grpSpPr bwMode="auto">
            <a:xfrm rot="-923473">
              <a:off x="2616" y="628"/>
              <a:ext cx="420" cy="332"/>
              <a:chOff x="2016" y="2165"/>
              <a:chExt cx="1167" cy="921"/>
            </a:xfrm>
          </p:grpSpPr>
          <p:sp>
            <p:nvSpPr>
              <p:cNvPr id="25" name="Freeform 76">
                <a:extLst>
                  <a:ext uri="{FF2B5EF4-FFF2-40B4-BE49-F238E27FC236}">
                    <a16:creationId xmlns:a16="http://schemas.microsoft.com/office/drawing/2014/main" id="{CB8017C8-5D45-65AB-15BA-96945583E775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auto">
              <a:xfrm>
                <a:off x="2966" y="2925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Freeform 77">
                <a:extLst>
                  <a:ext uri="{FF2B5EF4-FFF2-40B4-BE49-F238E27FC236}">
                    <a16:creationId xmlns:a16="http://schemas.microsoft.com/office/drawing/2014/main" id="{685CB9AA-9CE1-A573-0D65-93BAFAFF1B4C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auto">
              <a:xfrm>
                <a:off x="2016" y="2940"/>
                <a:ext cx="217" cy="146"/>
              </a:xfrm>
              <a:custGeom>
                <a:avLst/>
                <a:gdLst>
                  <a:gd name="T0" fmla="*/ 762 w 1078"/>
                  <a:gd name="T1" fmla="*/ 32 h 341"/>
                  <a:gd name="T2" fmla="*/ 767 w 1078"/>
                  <a:gd name="T3" fmla="*/ 11 h 341"/>
                  <a:gd name="T4" fmla="*/ 747 w 1078"/>
                  <a:gd name="T5" fmla="*/ 5 h 341"/>
                  <a:gd name="T6" fmla="*/ 704 w 1078"/>
                  <a:gd name="T7" fmla="*/ 5 h 341"/>
                  <a:gd name="T8" fmla="*/ 647 w 1078"/>
                  <a:gd name="T9" fmla="*/ 11 h 341"/>
                  <a:gd name="T10" fmla="*/ 575 w 1078"/>
                  <a:gd name="T11" fmla="*/ 27 h 341"/>
                  <a:gd name="T12" fmla="*/ 493 w 1078"/>
                  <a:gd name="T13" fmla="*/ 48 h 341"/>
                  <a:gd name="T14" fmla="*/ 407 w 1078"/>
                  <a:gd name="T15" fmla="*/ 80 h 341"/>
                  <a:gd name="T16" fmla="*/ 340 w 1078"/>
                  <a:gd name="T17" fmla="*/ 101 h 341"/>
                  <a:gd name="T18" fmla="*/ 273 w 1078"/>
                  <a:gd name="T19" fmla="*/ 117 h 341"/>
                  <a:gd name="T20" fmla="*/ 211 w 1078"/>
                  <a:gd name="T21" fmla="*/ 133 h 341"/>
                  <a:gd name="T22" fmla="*/ 144 w 1078"/>
                  <a:gd name="T23" fmla="*/ 149 h 341"/>
                  <a:gd name="T24" fmla="*/ 81 w 1078"/>
                  <a:gd name="T25" fmla="*/ 165 h 341"/>
                  <a:gd name="T26" fmla="*/ 38 w 1078"/>
                  <a:gd name="T27" fmla="*/ 187 h 341"/>
                  <a:gd name="T28" fmla="*/ 24 w 1078"/>
                  <a:gd name="T29" fmla="*/ 197 h 341"/>
                  <a:gd name="T30" fmla="*/ 53 w 1078"/>
                  <a:gd name="T31" fmla="*/ 203 h 341"/>
                  <a:gd name="T32" fmla="*/ 43 w 1078"/>
                  <a:gd name="T33" fmla="*/ 219 h 341"/>
                  <a:gd name="T34" fmla="*/ 9 w 1078"/>
                  <a:gd name="T35" fmla="*/ 240 h 341"/>
                  <a:gd name="T36" fmla="*/ 29 w 1078"/>
                  <a:gd name="T37" fmla="*/ 256 h 341"/>
                  <a:gd name="T38" fmla="*/ 115 w 1078"/>
                  <a:gd name="T39" fmla="*/ 251 h 341"/>
                  <a:gd name="T40" fmla="*/ 230 w 1078"/>
                  <a:gd name="T41" fmla="*/ 235 h 341"/>
                  <a:gd name="T42" fmla="*/ 355 w 1078"/>
                  <a:gd name="T43" fmla="*/ 213 h 341"/>
                  <a:gd name="T44" fmla="*/ 359 w 1078"/>
                  <a:gd name="T45" fmla="*/ 224 h 341"/>
                  <a:gd name="T46" fmla="*/ 326 w 1078"/>
                  <a:gd name="T47" fmla="*/ 245 h 341"/>
                  <a:gd name="T48" fmla="*/ 383 w 1078"/>
                  <a:gd name="T49" fmla="*/ 251 h 341"/>
                  <a:gd name="T50" fmla="*/ 436 w 1078"/>
                  <a:gd name="T51" fmla="*/ 261 h 341"/>
                  <a:gd name="T52" fmla="*/ 446 w 1078"/>
                  <a:gd name="T53" fmla="*/ 272 h 341"/>
                  <a:gd name="T54" fmla="*/ 417 w 1078"/>
                  <a:gd name="T55" fmla="*/ 293 h 341"/>
                  <a:gd name="T56" fmla="*/ 369 w 1078"/>
                  <a:gd name="T57" fmla="*/ 320 h 341"/>
                  <a:gd name="T58" fmla="*/ 359 w 1078"/>
                  <a:gd name="T59" fmla="*/ 336 h 341"/>
                  <a:gd name="T60" fmla="*/ 383 w 1078"/>
                  <a:gd name="T61" fmla="*/ 341 h 341"/>
                  <a:gd name="T62" fmla="*/ 431 w 1078"/>
                  <a:gd name="T63" fmla="*/ 341 h 341"/>
                  <a:gd name="T64" fmla="*/ 517 w 1078"/>
                  <a:gd name="T65" fmla="*/ 325 h 341"/>
                  <a:gd name="T66" fmla="*/ 623 w 1078"/>
                  <a:gd name="T67" fmla="*/ 299 h 341"/>
                  <a:gd name="T68" fmla="*/ 738 w 1078"/>
                  <a:gd name="T69" fmla="*/ 267 h 341"/>
                  <a:gd name="T70" fmla="*/ 839 w 1078"/>
                  <a:gd name="T71" fmla="*/ 240 h 341"/>
                  <a:gd name="T72" fmla="*/ 867 w 1078"/>
                  <a:gd name="T73" fmla="*/ 219 h 341"/>
                  <a:gd name="T74" fmla="*/ 839 w 1078"/>
                  <a:gd name="T75" fmla="*/ 213 h 341"/>
                  <a:gd name="T76" fmla="*/ 786 w 1078"/>
                  <a:gd name="T77" fmla="*/ 224 h 341"/>
                  <a:gd name="T78" fmla="*/ 714 w 1078"/>
                  <a:gd name="T79" fmla="*/ 235 h 341"/>
                  <a:gd name="T80" fmla="*/ 680 w 1078"/>
                  <a:gd name="T81" fmla="*/ 235 h 341"/>
                  <a:gd name="T82" fmla="*/ 728 w 1078"/>
                  <a:gd name="T83" fmla="*/ 219 h 341"/>
                  <a:gd name="T84" fmla="*/ 815 w 1078"/>
                  <a:gd name="T85" fmla="*/ 197 h 341"/>
                  <a:gd name="T86" fmla="*/ 901 w 1078"/>
                  <a:gd name="T87" fmla="*/ 181 h 341"/>
                  <a:gd name="T88" fmla="*/ 886 w 1078"/>
                  <a:gd name="T89" fmla="*/ 171 h 341"/>
                  <a:gd name="T90" fmla="*/ 848 w 1078"/>
                  <a:gd name="T91" fmla="*/ 160 h 341"/>
                  <a:gd name="T92" fmla="*/ 925 w 1078"/>
                  <a:gd name="T93" fmla="*/ 133 h 341"/>
                  <a:gd name="T94" fmla="*/ 1011 w 1078"/>
                  <a:gd name="T95" fmla="*/ 107 h 341"/>
                  <a:gd name="T96" fmla="*/ 1049 w 1078"/>
                  <a:gd name="T97" fmla="*/ 91 h 341"/>
                  <a:gd name="T98" fmla="*/ 1021 w 1078"/>
                  <a:gd name="T99" fmla="*/ 85 h 341"/>
                  <a:gd name="T100" fmla="*/ 997 w 1078"/>
                  <a:gd name="T101" fmla="*/ 80 h 341"/>
                  <a:gd name="T102" fmla="*/ 1016 w 1078"/>
                  <a:gd name="T103" fmla="*/ 69 h 341"/>
                  <a:gd name="T104" fmla="*/ 1040 w 1078"/>
                  <a:gd name="T105" fmla="*/ 53 h 341"/>
                  <a:gd name="T106" fmla="*/ 1073 w 1078"/>
                  <a:gd name="T107" fmla="*/ 32 h 341"/>
                  <a:gd name="T108" fmla="*/ 1073 w 1078"/>
                  <a:gd name="T109" fmla="*/ 16 h 341"/>
                  <a:gd name="T110" fmla="*/ 1035 w 1078"/>
                  <a:gd name="T111" fmla="*/ 11 h 341"/>
                  <a:gd name="T112" fmla="*/ 954 w 1078"/>
                  <a:gd name="T113" fmla="*/ 21 h 341"/>
                  <a:gd name="T114" fmla="*/ 891 w 1078"/>
                  <a:gd name="T115" fmla="*/ 32 h 341"/>
                  <a:gd name="T116" fmla="*/ 843 w 1078"/>
                  <a:gd name="T117" fmla="*/ 37 h 341"/>
                  <a:gd name="T118" fmla="*/ 795 w 1078"/>
                  <a:gd name="T119" fmla="*/ 48 h 341"/>
                  <a:gd name="T120" fmla="*/ 752 w 1078"/>
                  <a:gd name="T121" fmla="*/ 53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78" h="341">
                    <a:moveTo>
                      <a:pt x="738" y="53"/>
                    </a:moveTo>
                    <a:lnTo>
                      <a:pt x="747" y="48"/>
                    </a:lnTo>
                    <a:lnTo>
                      <a:pt x="757" y="37"/>
                    </a:lnTo>
                    <a:lnTo>
                      <a:pt x="762" y="32"/>
                    </a:lnTo>
                    <a:lnTo>
                      <a:pt x="767" y="27"/>
                    </a:lnTo>
                    <a:lnTo>
                      <a:pt x="771" y="21"/>
                    </a:lnTo>
                    <a:lnTo>
                      <a:pt x="771" y="16"/>
                    </a:lnTo>
                    <a:lnTo>
                      <a:pt x="767" y="11"/>
                    </a:lnTo>
                    <a:lnTo>
                      <a:pt x="767" y="11"/>
                    </a:lnTo>
                    <a:lnTo>
                      <a:pt x="762" y="5"/>
                    </a:lnTo>
                    <a:lnTo>
                      <a:pt x="752" y="5"/>
                    </a:lnTo>
                    <a:lnTo>
                      <a:pt x="747" y="5"/>
                    </a:lnTo>
                    <a:lnTo>
                      <a:pt x="738" y="5"/>
                    </a:lnTo>
                    <a:lnTo>
                      <a:pt x="728" y="0"/>
                    </a:lnTo>
                    <a:lnTo>
                      <a:pt x="719" y="0"/>
                    </a:lnTo>
                    <a:lnTo>
                      <a:pt x="704" y="5"/>
                    </a:lnTo>
                    <a:lnTo>
                      <a:pt x="690" y="5"/>
                    </a:lnTo>
                    <a:lnTo>
                      <a:pt x="676" y="5"/>
                    </a:lnTo>
                    <a:lnTo>
                      <a:pt x="661" y="5"/>
                    </a:lnTo>
                    <a:lnTo>
                      <a:pt x="647" y="11"/>
                    </a:lnTo>
                    <a:lnTo>
                      <a:pt x="628" y="16"/>
                    </a:lnTo>
                    <a:lnTo>
                      <a:pt x="613" y="16"/>
                    </a:lnTo>
                    <a:lnTo>
                      <a:pt x="594" y="21"/>
                    </a:lnTo>
                    <a:lnTo>
                      <a:pt x="575" y="27"/>
                    </a:lnTo>
                    <a:lnTo>
                      <a:pt x="556" y="32"/>
                    </a:lnTo>
                    <a:lnTo>
                      <a:pt x="532" y="37"/>
                    </a:lnTo>
                    <a:lnTo>
                      <a:pt x="513" y="43"/>
                    </a:lnTo>
                    <a:lnTo>
                      <a:pt x="493" y="48"/>
                    </a:lnTo>
                    <a:lnTo>
                      <a:pt x="470" y="59"/>
                    </a:lnTo>
                    <a:lnTo>
                      <a:pt x="450" y="64"/>
                    </a:lnTo>
                    <a:lnTo>
                      <a:pt x="426" y="75"/>
                    </a:lnTo>
                    <a:lnTo>
                      <a:pt x="407" y="80"/>
                    </a:lnTo>
                    <a:lnTo>
                      <a:pt x="383" y="91"/>
                    </a:lnTo>
                    <a:lnTo>
                      <a:pt x="369" y="96"/>
                    </a:lnTo>
                    <a:lnTo>
                      <a:pt x="355" y="96"/>
                    </a:lnTo>
                    <a:lnTo>
                      <a:pt x="340" y="101"/>
                    </a:lnTo>
                    <a:lnTo>
                      <a:pt x="321" y="107"/>
                    </a:lnTo>
                    <a:lnTo>
                      <a:pt x="307" y="107"/>
                    </a:lnTo>
                    <a:lnTo>
                      <a:pt x="287" y="112"/>
                    </a:lnTo>
                    <a:lnTo>
                      <a:pt x="273" y="117"/>
                    </a:lnTo>
                    <a:lnTo>
                      <a:pt x="259" y="123"/>
                    </a:lnTo>
                    <a:lnTo>
                      <a:pt x="239" y="123"/>
                    </a:lnTo>
                    <a:lnTo>
                      <a:pt x="225" y="128"/>
                    </a:lnTo>
                    <a:lnTo>
                      <a:pt x="211" y="133"/>
                    </a:lnTo>
                    <a:lnTo>
                      <a:pt x="192" y="139"/>
                    </a:lnTo>
                    <a:lnTo>
                      <a:pt x="177" y="139"/>
                    </a:lnTo>
                    <a:lnTo>
                      <a:pt x="163" y="144"/>
                    </a:lnTo>
                    <a:lnTo>
                      <a:pt x="144" y="149"/>
                    </a:lnTo>
                    <a:lnTo>
                      <a:pt x="129" y="155"/>
                    </a:lnTo>
                    <a:lnTo>
                      <a:pt x="115" y="160"/>
                    </a:lnTo>
                    <a:lnTo>
                      <a:pt x="101" y="165"/>
                    </a:lnTo>
                    <a:lnTo>
                      <a:pt x="81" y="165"/>
                    </a:lnTo>
                    <a:lnTo>
                      <a:pt x="72" y="171"/>
                    </a:lnTo>
                    <a:lnTo>
                      <a:pt x="57" y="176"/>
                    </a:lnTo>
                    <a:lnTo>
                      <a:pt x="48" y="181"/>
                    </a:lnTo>
                    <a:lnTo>
                      <a:pt x="38" y="187"/>
                    </a:lnTo>
                    <a:lnTo>
                      <a:pt x="33" y="187"/>
                    </a:lnTo>
                    <a:lnTo>
                      <a:pt x="24" y="192"/>
                    </a:lnTo>
                    <a:lnTo>
                      <a:pt x="24" y="192"/>
                    </a:lnTo>
                    <a:lnTo>
                      <a:pt x="24" y="197"/>
                    </a:lnTo>
                    <a:lnTo>
                      <a:pt x="24" y="197"/>
                    </a:lnTo>
                    <a:lnTo>
                      <a:pt x="33" y="203"/>
                    </a:lnTo>
                    <a:lnTo>
                      <a:pt x="38" y="203"/>
                    </a:lnTo>
                    <a:lnTo>
                      <a:pt x="53" y="203"/>
                    </a:lnTo>
                    <a:lnTo>
                      <a:pt x="67" y="203"/>
                    </a:lnTo>
                    <a:lnTo>
                      <a:pt x="57" y="208"/>
                    </a:lnTo>
                    <a:lnTo>
                      <a:pt x="53" y="213"/>
                    </a:lnTo>
                    <a:lnTo>
                      <a:pt x="43" y="219"/>
                    </a:lnTo>
                    <a:lnTo>
                      <a:pt x="33" y="224"/>
                    </a:lnTo>
                    <a:lnTo>
                      <a:pt x="24" y="229"/>
                    </a:lnTo>
                    <a:lnTo>
                      <a:pt x="14" y="229"/>
                    </a:lnTo>
                    <a:lnTo>
                      <a:pt x="9" y="240"/>
                    </a:lnTo>
                    <a:lnTo>
                      <a:pt x="0" y="240"/>
                    </a:lnTo>
                    <a:lnTo>
                      <a:pt x="5" y="251"/>
                    </a:lnTo>
                    <a:lnTo>
                      <a:pt x="14" y="256"/>
                    </a:lnTo>
                    <a:lnTo>
                      <a:pt x="29" y="256"/>
                    </a:lnTo>
                    <a:lnTo>
                      <a:pt x="48" y="256"/>
                    </a:lnTo>
                    <a:lnTo>
                      <a:pt x="67" y="256"/>
                    </a:lnTo>
                    <a:lnTo>
                      <a:pt x="91" y="256"/>
                    </a:lnTo>
                    <a:lnTo>
                      <a:pt x="115" y="251"/>
                    </a:lnTo>
                    <a:lnTo>
                      <a:pt x="144" y="251"/>
                    </a:lnTo>
                    <a:lnTo>
                      <a:pt x="172" y="245"/>
                    </a:lnTo>
                    <a:lnTo>
                      <a:pt x="201" y="240"/>
                    </a:lnTo>
                    <a:lnTo>
                      <a:pt x="230" y="235"/>
                    </a:lnTo>
                    <a:lnTo>
                      <a:pt x="263" y="229"/>
                    </a:lnTo>
                    <a:lnTo>
                      <a:pt x="292" y="224"/>
                    </a:lnTo>
                    <a:lnTo>
                      <a:pt x="326" y="219"/>
                    </a:lnTo>
                    <a:lnTo>
                      <a:pt x="355" y="213"/>
                    </a:lnTo>
                    <a:lnTo>
                      <a:pt x="383" y="208"/>
                    </a:lnTo>
                    <a:lnTo>
                      <a:pt x="374" y="213"/>
                    </a:lnTo>
                    <a:lnTo>
                      <a:pt x="369" y="219"/>
                    </a:lnTo>
                    <a:lnTo>
                      <a:pt x="359" y="224"/>
                    </a:lnTo>
                    <a:lnTo>
                      <a:pt x="350" y="229"/>
                    </a:lnTo>
                    <a:lnTo>
                      <a:pt x="340" y="235"/>
                    </a:lnTo>
                    <a:lnTo>
                      <a:pt x="335" y="240"/>
                    </a:lnTo>
                    <a:lnTo>
                      <a:pt x="326" y="245"/>
                    </a:lnTo>
                    <a:lnTo>
                      <a:pt x="316" y="251"/>
                    </a:lnTo>
                    <a:lnTo>
                      <a:pt x="340" y="251"/>
                    </a:lnTo>
                    <a:lnTo>
                      <a:pt x="364" y="251"/>
                    </a:lnTo>
                    <a:lnTo>
                      <a:pt x="383" y="251"/>
                    </a:lnTo>
                    <a:lnTo>
                      <a:pt x="402" y="256"/>
                    </a:lnTo>
                    <a:lnTo>
                      <a:pt x="412" y="256"/>
                    </a:lnTo>
                    <a:lnTo>
                      <a:pt x="426" y="256"/>
                    </a:lnTo>
                    <a:lnTo>
                      <a:pt x="436" y="261"/>
                    </a:lnTo>
                    <a:lnTo>
                      <a:pt x="441" y="261"/>
                    </a:lnTo>
                    <a:lnTo>
                      <a:pt x="446" y="267"/>
                    </a:lnTo>
                    <a:lnTo>
                      <a:pt x="446" y="272"/>
                    </a:lnTo>
                    <a:lnTo>
                      <a:pt x="446" y="272"/>
                    </a:lnTo>
                    <a:lnTo>
                      <a:pt x="441" y="277"/>
                    </a:lnTo>
                    <a:lnTo>
                      <a:pt x="436" y="283"/>
                    </a:lnTo>
                    <a:lnTo>
                      <a:pt x="431" y="288"/>
                    </a:lnTo>
                    <a:lnTo>
                      <a:pt x="417" y="293"/>
                    </a:lnTo>
                    <a:lnTo>
                      <a:pt x="407" y="299"/>
                    </a:lnTo>
                    <a:lnTo>
                      <a:pt x="393" y="309"/>
                    </a:lnTo>
                    <a:lnTo>
                      <a:pt x="378" y="315"/>
                    </a:lnTo>
                    <a:lnTo>
                      <a:pt x="369" y="320"/>
                    </a:lnTo>
                    <a:lnTo>
                      <a:pt x="364" y="325"/>
                    </a:lnTo>
                    <a:lnTo>
                      <a:pt x="359" y="331"/>
                    </a:lnTo>
                    <a:lnTo>
                      <a:pt x="359" y="336"/>
                    </a:lnTo>
                    <a:lnTo>
                      <a:pt x="359" y="336"/>
                    </a:lnTo>
                    <a:lnTo>
                      <a:pt x="359" y="341"/>
                    </a:lnTo>
                    <a:lnTo>
                      <a:pt x="364" y="341"/>
                    </a:lnTo>
                    <a:lnTo>
                      <a:pt x="374" y="341"/>
                    </a:lnTo>
                    <a:lnTo>
                      <a:pt x="383" y="341"/>
                    </a:lnTo>
                    <a:lnTo>
                      <a:pt x="393" y="341"/>
                    </a:lnTo>
                    <a:lnTo>
                      <a:pt x="407" y="341"/>
                    </a:lnTo>
                    <a:lnTo>
                      <a:pt x="417" y="341"/>
                    </a:lnTo>
                    <a:lnTo>
                      <a:pt x="431" y="341"/>
                    </a:lnTo>
                    <a:lnTo>
                      <a:pt x="450" y="336"/>
                    </a:lnTo>
                    <a:lnTo>
                      <a:pt x="470" y="331"/>
                    </a:lnTo>
                    <a:lnTo>
                      <a:pt x="493" y="331"/>
                    </a:lnTo>
                    <a:lnTo>
                      <a:pt x="517" y="325"/>
                    </a:lnTo>
                    <a:lnTo>
                      <a:pt x="541" y="315"/>
                    </a:lnTo>
                    <a:lnTo>
                      <a:pt x="570" y="309"/>
                    </a:lnTo>
                    <a:lnTo>
                      <a:pt x="599" y="304"/>
                    </a:lnTo>
                    <a:lnTo>
                      <a:pt x="623" y="299"/>
                    </a:lnTo>
                    <a:lnTo>
                      <a:pt x="652" y="288"/>
                    </a:lnTo>
                    <a:lnTo>
                      <a:pt x="680" y="283"/>
                    </a:lnTo>
                    <a:lnTo>
                      <a:pt x="709" y="272"/>
                    </a:lnTo>
                    <a:lnTo>
                      <a:pt x="738" y="267"/>
                    </a:lnTo>
                    <a:lnTo>
                      <a:pt x="762" y="261"/>
                    </a:lnTo>
                    <a:lnTo>
                      <a:pt x="791" y="251"/>
                    </a:lnTo>
                    <a:lnTo>
                      <a:pt x="815" y="245"/>
                    </a:lnTo>
                    <a:lnTo>
                      <a:pt x="839" y="240"/>
                    </a:lnTo>
                    <a:lnTo>
                      <a:pt x="862" y="229"/>
                    </a:lnTo>
                    <a:lnTo>
                      <a:pt x="867" y="224"/>
                    </a:lnTo>
                    <a:lnTo>
                      <a:pt x="867" y="219"/>
                    </a:lnTo>
                    <a:lnTo>
                      <a:pt x="867" y="219"/>
                    </a:lnTo>
                    <a:lnTo>
                      <a:pt x="862" y="213"/>
                    </a:lnTo>
                    <a:lnTo>
                      <a:pt x="858" y="213"/>
                    </a:lnTo>
                    <a:lnTo>
                      <a:pt x="848" y="213"/>
                    </a:lnTo>
                    <a:lnTo>
                      <a:pt x="839" y="213"/>
                    </a:lnTo>
                    <a:lnTo>
                      <a:pt x="829" y="213"/>
                    </a:lnTo>
                    <a:lnTo>
                      <a:pt x="815" y="219"/>
                    </a:lnTo>
                    <a:lnTo>
                      <a:pt x="800" y="219"/>
                    </a:lnTo>
                    <a:lnTo>
                      <a:pt x="786" y="224"/>
                    </a:lnTo>
                    <a:lnTo>
                      <a:pt x="767" y="224"/>
                    </a:lnTo>
                    <a:lnTo>
                      <a:pt x="747" y="229"/>
                    </a:lnTo>
                    <a:lnTo>
                      <a:pt x="733" y="229"/>
                    </a:lnTo>
                    <a:lnTo>
                      <a:pt x="714" y="235"/>
                    </a:lnTo>
                    <a:lnTo>
                      <a:pt x="695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0" y="235"/>
                    </a:lnTo>
                    <a:lnTo>
                      <a:pt x="685" y="229"/>
                    </a:lnTo>
                    <a:lnTo>
                      <a:pt x="695" y="229"/>
                    </a:lnTo>
                    <a:lnTo>
                      <a:pt x="709" y="224"/>
                    </a:lnTo>
                    <a:lnTo>
                      <a:pt x="728" y="219"/>
                    </a:lnTo>
                    <a:lnTo>
                      <a:pt x="747" y="213"/>
                    </a:lnTo>
                    <a:lnTo>
                      <a:pt x="771" y="208"/>
                    </a:lnTo>
                    <a:lnTo>
                      <a:pt x="791" y="203"/>
                    </a:lnTo>
                    <a:lnTo>
                      <a:pt x="815" y="197"/>
                    </a:lnTo>
                    <a:lnTo>
                      <a:pt x="839" y="192"/>
                    </a:lnTo>
                    <a:lnTo>
                      <a:pt x="862" y="187"/>
                    </a:lnTo>
                    <a:lnTo>
                      <a:pt x="882" y="181"/>
                    </a:lnTo>
                    <a:lnTo>
                      <a:pt x="901" y="181"/>
                    </a:lnTo>
                    <a:lnTo>
                      <a:pt x="915" y="176"/>
                    </a:lnTo>
                    <a:lnTo>
                      <a:pt x="906" y="171"/>
                    </a:lnTo>
                    <a:lnTo>
                      <a:pt x="896" y="171"/>
                    </a:lnTo>
                    <a:lnTo>
                      <a:pt x="886" y="171"/>
                    </a:lnTo>
                    <a:lnTo>
                      <a:pt x="877" y="165"/>
                    </a:lnTo>
                    <a:lnTo>
                      <a:pt x="867" y="165"/>
                    </a:lnTo>
                    <a:lnTo>
                      <a:pt x="858" y="160"/>
                    </a:lnTo>
                    <a:lnTo>
                      <a:pt x="848" y="160"/>
                    </a:lnTo>
                    <a:lnTo>
                      <a:pt x="839" y="155"/>
                    </a:lnTo>
                    <a:lnTo>
                      <a:pt x="867" y="149"/>
                    </a:lnTo>
                    <a:lnTo>
                      <a:pt x="896" y="144"/>
                    </a:lnTo>
                    <a:lnTo>
                      <a:pt x="925" y="133"/>
                    </a:lnTo>
                    <a:lnTo>
                      <a:pt x="949" y="128"/>
                    </a:lnTo>
                    <a:lnTo>
                      <a:pt x="973" y="123"/>
                    </a:lnTo>
                    <a:lnTo>
                      <a:pt x="992" y="117"/>
                    </a:lnTo>
                    <a:lnTo>
                      <a:pt x="1011" y="107"/>
                    </a:lnTo>
                    <a:lnTo>
                      <a:pt x="1025" y="101"/>
                    </a:lnTo>
                    <a:lnTo>
                      <a:pt x="1035" y="101"/>
                    </a:lnTo>
                    <a:lnTo>
                      <a:pt x="1045" y="96"/>
                    </a:lnTo>
                    <a:lnTo>
                      <a:pt x="1049" y="91"/>
                    </a:lnTo>
                    <a:lnTo>
                      <a:pt x="1049" y="91"/>
                    </a:lnTo>
                    <a:lnTo>
                      <a:pt x="1045" y="91"/>
                    </a:lnTo>
                    <a:lnTo>
                      <a:pt x="1035" y="85"/>
                    </a:lnTo>
                    <a:lnTo>
                      <a:pt x="1021" y="85"/>
                    </a:lnTo>
                    <a:lnTo>
                      <a:pt x="1001" y="91"/>
                    </a:lnTo>
                    <a:lnTo>
                      <a:pt x="1001" y="85"/>
                    </a:lnTo>
                    <a:lnTo>
                      <a:pt x="1001" y="80"/>
                    </a:lnTo>
                    <a:lnTo>
                      <a:pt x="997" y="80"/>
                    </a:lnTo>
                    <a:lnTo>
                      <a:pt x="997" y="75"/>
                    </a:lnTo>
                    <a:lnTo>
                      <a:pt x="1001" y="75"/>
                    </a:lnTo>
                    <a:lnTo>
                      <a:pt x="1011" y="69"/>
                    </a:lnTo>
                    <a:lnTo>
                      <a:pt x="1016" y="69"/>
                    </a:lnTo>
                    <a:lnTo>
                      <a:pt x="1021" y="64"/>
                    </a:lnTo>
                    <a:lnTo>
                      <a:pt x="1025" y="59"/>
                    </a:lnTo>
                    <a:lnTo>
                      <a:pt x="1035" y="59"/>
                    </a:lnTo>
                    <a:lnTo>
                      <a:pt x="1040" y="53"/>
                    </a:lnTo>
                    <a:lnTo>
                      <a:pt x="1045" y="48"/>
                    </a:lnTo>
                    <a:lnTo>
                      <a:pt x="1059" y="43"/>
                    </a:lnTo>
                    <a:lnTo>
                      <a:pt x="1069" y="37"/>
                    </a:lnTo>
                    <a:lnTo>
                      <a:pt x="1073" y="32"/>
                    </a:lnTo>
                    <a:lnTo>
                      <a:pt x="1078" y="27"/>
                    </a:lnTo>
                    <a:lnTo>
                      <a:pt x="1078" y="21"/>
                    </a:lnTo>
                    <a:lnTo>
                      <a:pt x="1078" y="16"/>
                    </a:lnTo>
                    <a:lnTo>
                      <a:pt x="1073" y="16"/>
                    </a:lnTo>
                    <a:lnTo>
                      <a:pt x="1069" y="11"/>
                    </a:lnTo>
                    <a:lnTo>
                      <a:pt x="1059" y="11"/>
                    </a:lnTo>
                    <a:lnTo>
                      <a:pt x="1049" y="11"/>
                    </a:lnTo>
                    <a:lnTo>
                      <a:pt x="1035" y="11"/>
                    </a:lnTo>
                    <a:lnTo>
                      <a:pt x="1016" y="11"/>
                    </a:lnTo>
                    <a:lnTo>
                      <a:pt x="997" y="16"/>
                    </a:lnTo>
                    <a:lnTo>
                      <a:pt x="977" y="21"/>
                    </a:lnTo>
                    <a:lnTo>
                      <a:pt x="954" y="21"/>
                    </a:lnTo>
                    <a:lnTo>
                      <a:pt x="925" y="27"/>
                    </a:lnTo>
                    <a:lnTo>
                      <a:pt x="915" y="27"/>
                    </a:lnTo>
                    <a:lnTo>
                      <a:pt x="901" y="32"/>
                    </a:lnTo>
                    <a:lnTo>
                      <a:pt x="891" y="32"/>
                    </a:lnTo>
                    <a:lnTo>
                      <a:pt x="882" y="32"/>
                    </a:lnTo>
                    <a:lnTo>
                      <a:pt x="867" y="37"/>
                    </a:lnTo>
                    <a:lnTo>
                      <a:pt x="858" y="37"/>
                    </a:lnTo>
                    <a:lnTo>
                      <a:pt x="843" y="37"/>
                    </a:lnTo>
                    <a:lnTo>
                      <a:pt x="834" y="43"/>
                    </a:lnTo>
                    <a:lnTo>
                      <a:pt x="819" y="43"/>
                    </a:lnTo>
                    <a:lnTo>
                      <a:pt x="810" y="43"/>
                    </a:lnTo>
                    <a:lnTo>
                      <a:pt x="795" y="48"/>
                    </a:lnTo>
                    <a:lnTo>
                      <a:pt x="786" y="48"/>
                    </a:lnTo>
                    <a:lnTo>
                      <a:pt x="776" y="48"/>
                    </a:lnTo>
                    <a:lnTo>
                      <a:pt x="762" y="53"/>
                    </a:lnTo>
                    <a:lnTo>
                      <a:pt x="752" y="53"/>
                    </a:lnTo>
                    <a:lnTo>
                      <a:pt x="738" y="53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Freeform 78">
                <a:extLst>
                  <a:ext uri="{FF2B5EF4-FFF2-40B4-BE49-F238E27FC236}">
                    <a16:creationId xmlns:a16="http://schemas.microsoft.com/office/drawing/2014/main" id="{191337C4-2192-87CC-C1ED-9CB5098BEFC8}"/>
                  </a:ext>
                </a:extLst>
              </p:cNvPr>
              <p:cNvSpPr>
                <a:spLocks noEditPoints="1"/>
              </p:cNvSpPr>
              <p:nvPr>
                <p:custDataLst>
                  <p:tags r:id="rId4"/>
                </p:custDataLst>
              </p:nvPr>
            </p:nvSpPr>
            <p:spPr bwMode="auto">
              <a:xfrm>
                <a:off x="2031" y="2165"/>
                <a:ext cx="1097" cy="864"/>
              </a:xfrm>
              <a:custGeom>
                <a:avLst/>
                <a:gdLst>
                  <a:gd name="T0" fmla="*/ 714 w 1097"/>
                  <a:gd name="T1" fmla="*/ 272 h 864"/>
                  <a:gd name="T2" fmla="*/ 891 w 1097"/>
                  <a:gd name="T3" fmla="*/ 320 h 864"/>
                  <a:gd name="T4" fmla="*/ 1035 w 1097"/>
                  <a:gd name="T5" fmla="*/ 347 h 864"/>
                  <a:gd name="T6" fmla="*/ 1045 w 1097"/>
                  <a:gd name="T7" fmla="*/ 288 h 864"/>
                  <a:gd name="T8" fmla="*/ 1069 w 1097"/>
                  <a:gd name="T9" fmla="*/ 304 h 864"/>
                  <a:gd name="T10" fmla="*/ 1073 w 1097"/>
                  <a:gd name="T11" fmla="*/ 352 h 864"/>
                  <a:gd name="T12" fmla="*/ 1083 w 1097"/>
                  <a:gd name="T13" fmla="*/ 373 h 864"/>
                  <a:gd name="T14" fmla="*/ 1097 w 1097"/>
                  <a:gd name="T15" fmla="*/ 373 h 864"/>
                  <a:gd name="T16" fmla="*/ 1083 w 1097"/>
                  <a:gd name="T17" fmla="*/ 464 h 864"/>
                  <a:gd name="T18" fmla="*/ 1064 w 1097"/>
                  <a:gd name="T19" fmla="*/ 619 h 864"/>
                  <a:gd name="T20" fmla="*/ 1073 w 1097"/>
                  <a:gd name="T21" fmla="*/ 667 h 864"/>
                  <a:gd name="T22" fmla="*/ 1083 w 1097"/>
                  <a:gd name="T23" fmla="*/ 709 h 864"/>
                  <a:gd name="T24" fmla="*/ 1064 w 1097"/>
                  <a:gd name="T25" fmla="*/ 811 h 864"/>
                  <a:gd name="T26" fmla="*/ 1059 w 1097"/>
                  <a:gd name="T27" fmla="*/ 832 h 864"/>
                  <a:gd name="T28" fmla="*/ 1025 w 1097"/>
                  <a:gd name="T29" fmla="*/ 837 h 864"/>
                  <a:gd name="T30" fmla="*/ 1016 w 1097"/>
                  <a:gd name="T31" fmla="*/ 763 h 864"/>
                  <a:gd name="T32" fmla="*/ 930 w 1097"/>
                  <a:gd name="T33" fmla="*/ 752 h 864"/>
                  <a:gd name="T34" fmla="*/ 733 w 1097"/>
                  <a:gd name="T35" fmla="*/ 736 h 864"/>
                  <a:gd name="T36" fmla="*/ 599 w 1097"/>
                  <a:gd name="T37" fmla="*/ 603 h 864"/>
                  <a:gd name="T38" fmla="*/ 767 w 1097"/>
                  <a:gd name="T39" fmla="*/ 624 h 864"/>
                  <a:gd name="T40" fmla="*/ 934 w 1097"/>
                  <a:gd name="T41" fmla="*/ 645 h 864"/>
                  <a:gd name="T42" fmla="*/ 1025 w 1097"/>
                  <a:gd name="T43" fmla="*/ 512 h 864"/>
                  <a:gd name="T44" fmla="*/ 886 w 1097"/>
                  <a:gd name="T45" fmla="*/ 432 h 864"/>
                  <a:gd name="T46" fmla="*/ 714 w 1097"/>
                  <a:gd name="T47" fmla="*/ 395 h 864"/>
                  <a:gd name="T48" fmla="*/ 570 w 1097"/>
                  <a:gd name="T49" fmla="*/ 229 h 864"/>
                  <a:gd name="T50" fmla="*/ 120 w 1097"/>
                  <a:gd name="T51" fmla="*/ 85 h 864"/>
                  <a:gd name="T52" fmla="*/ 287 w 1097"/>
                  <a:gd name="T53" fmla="*/ 144 h 864"/>
                  <a:gd name="T54" fmla="*/ 455 w 1097"/>
                  <a:gd name="T55" fmla="*/ 197 h 864"/>
                  <a:gd name="T56" fmla="*/ 541 w 1097"/>
                  <a:gd name="T57" fmla="*/ 357 h 864"/>
                  <a:gd name="T58" fmla="*/ 374 w 1097"/>
                  <a:gd name="T59" fmla="*/ 315 h 864"/>
                  <a:gd name="T60" fmla="*/ 201 w 1097"/>
                  <a:gd name="T61" fmla="*/ 277 h 864"/>
                  <a:gd name="T62" fmla="*/ 120 w 1097"/>
                  <a:gd name="T63" fmla="*/ 336 h 864"/>
                  <a:gd name="T64" fmla="*/ 120 w 1097"/>
                  <a:gd name="T65" fmla="*/ 400 h 864"/>
                  <a:gd name="T66" fmla="*/ 206 w 1097"/>
                  <a:gd name="T67" fmla="*/ 544 h 864"/>
                  <a:gd name="T68" fmla="*/ 374 w 1097"/>
                  <a:gd name="T69" fmla="*/ 571 h 864"/>
                  <a:gd name="T70" fmla="*/ 541 w 1097"/>
                  <a:gd name="T71" fmla="*/ 592 h 864"/>
                  <a:gd name="T72" fmla="*/ 422 w 1097"/>
                  <a:gd name="T73" fmla="*/ 715 h 864"/>
                  <a:gd name="T74" fmla="*/ 230 w 1097"/>
                  <a:gd name="T75" fmla="*/ 704 h 864"/>
                  <a:gd name="T76" fmla="*/ 125 w 1097"/>
                  <a:gd name="T77" fmla="*/ 699 h 864"/>
                  <a:gd name="T78" fmla="*/ 115 w 1097"/>
                  <a:gd name="T79" fmla="*/ 864 h 864"/>
                  <a:gd name="T80" fmla="*/ 72 w 1097"/>
                  <a:gd name="T81" fmla="*/ 864 h 864"/>
                  <a:gd name="T82" fmla="*/ 53 w 1097"/>
                  <a:gd name="T83" fmla="*/ 688 h 864"/>
                  <a:gd name="T84" fmla="*/ 10 w 1097"/>
                  <a:gd name="T85" fmla="*/ 688 h 864"/>
                  <a:gd name="T86" fmla="*/ 5 w 1097"/>
                  <a:gd name="T87" fmla="*/ 528 h 864"/>
                  <a:gd name="T88" fmla="*/ 24 w 1097"/>
                  <a:gd name="T89" fmla="*/ 517 h 864"/>
                  <a:gd name="T90" fmla="*/ 57 w 1097"/>
                  <a:gd name="T91" fmla="*/ 517 h 864"/>
                  <a:gd name="T92" fmla="*/ 67 w 1097"/>
                  <a:gd name="T93" fmla="*/ 315 h 864"/>
                  <a:gd name="T94" fmla="*/ 33 w 1097"/>
                  <a:gd name="T95" fmla="*/ 235 h 864"/>
                  <a:gd name="T96" fmla="*/ 14 w 1097"/>
                  <a:gd name="T97" fmla="*/ 101 h 864"/>
                  <a:gd name="T98" fmla="*/ 24 w 1097"/>
                  <a:gd name="T99" fmla="*/ 59 h 864"/>
                  <a:gd name="T100" fmla="*/ 48 w 1097"/>
                  <a:gd name="T101" fmla="*/ 53 h 864"/>
                  <a:gd name="T102" fmla="*/ 72 w 1097"/>
                  <a:gd name="T103" fmla="*/ 53 h 864"/>
                  <a:gd name="T104" fmla="*/ 77 w 1097"/>
                  <a:gd name="T105" fmla="*/ 16 h 864"/>
                  <a:gd name="T106" fmla="*/ 96 w 1097"/>
                  <a:gd name="T107" fmla="*/ 0 h 8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97" h="864">
                    <a:moveTo>
                      <a:pt x="570" y="229"/>
                    </a:moveTo>
                    <a:lnTo>
                      <a:pt x="599" y="240"/>
                    </a:lnTo>
                    <a:lnTo>
                      <a:pt x="628" y="245"/>
                    </a:lnTo>
                    <a:lnTo>
                      <a:pt x="656" y="256"/>
                    </a:lnTo>
                    <a:lnTo>
                      <a:pt x="685" y="261"/>
                    </a:lnTo>
                    <a:lnTo>
                      <a:pt x="714" y="272"/>
                    </a:lnTo>
                    <a:lnTo>
                      <a:pt x="743" y="277"/>
                    </a:lnTo>
                    <a:lnTo>
                      <a:pt x="776" y="288"/>
                    </a:lnTo>
                    <a:lnTo>
                      <a:pt x="805" y="293"/>
                    </a:lnTo>
                    <a:lnTo>
                      <a:pt x="834" y="304"/>
                    </a:lnTo>
                    <a:lnTo>
                      <a:pt x="863" y="309"/>
                    </a:lnTo>
                    <a:lnTo>
                      <a:pt x="891" y="320"/>
                    </a:lnTo>
                    <a:lnTo>
                      <a:pt x="920" y="325"/>
                    </a:lnTo>
                    <a:lnTo>
                      <a:pt x="949" y="336"/>
                    </a:lnTo>
                    <a:lnTo>
                      <a:pt x="978" y="341"/>
                    </a:lnTo>
                    <a:lnTo>
                      <a:pt x="1006" y="347"/>
                    </a:lnTo>
                    <a:lnTo>
                      <a:pt x="1035" y="357"/>
                    </a:lnTo>
                    <a:lnTo>
                      <a:pt x="1035" y="347"/>
                    </a:lnTo>
                    <a:lnTo>
                      <a:pt x="1035" y="336"/>
                    </a:lnTo>
                    <a:lnTo>
                      <a:pt x="1035" y="325"/>
                    </a:lnTo>
                    <a:lnTo>
                      <a:pt x="1035" y="315"/>
                    </a:lnTo>
                    <a:lnTo>
                      <a:pt x="1035" y="304"/>
                    </a:lnTo>
                    <a:lnTo>
                      <a:pt x="1040" y="293"/>
                    </a:lnTo>
                    <a:lnTo>
                      <a:pt x="1045" y="288"/>
                    </a:lnTo>
                    <a:lnTo>
                      <a:pt x="1054" y="288"/>
                    </a:lnTo>
                    <a:lnTo>
                      <a:pt x="1059" y="293"/>
                    </a:lnTo>
                    <a:lnTo>
                      <a:pt x="1059" y="293"/>
                    </a:lnTo>
                    <a:lnTo>
                      <a:pt x="1064" y="299"/>
                    </a:lnTo>
                    <a:lnTo>
                      <a:pt x="1069" y="299"/>
                    </a:lnTo>
                    <a:lnTo>
                      <a:pt x="1069" y="304"/>
                    </a:lnTo>
                    <a:lnTo>
                      <a:pt x="1073" y="304"/>
                    </a:lnTo>
                    <a:lnTo>
                      <a:pt x="1073" y="309"/>
                    </a:lnTo>
                    <a:lnTo>
                      <a:pt x="1078" y="315"/>
                    </a:lnTo>
                    <a:lnTo>
                      <a:pt x="1073" y="325"/>
                    </a:lnTo>
                    <a:lnTo>
                      <a:pt x="1073" y="341"/>
                    </a:lnTo>
                    <a:lnTo>
                      <a:pt x="1073" y="352"/>
                    </a:lnTo>
                    <a:lnTo>
                      <a:pt x="1073" y="368"/>
                    </a:lnTo>
                    <a:lnTo>
                      <a:pt x="1073" y="368"/>
                    </a:lnTo>
                    <a:lnTo>
                      <a:pt x="1078" y="368"/>
                    </a:lnTo>
                    <a:lnTo>
                      <a:pt x="1078" y="368"/>
                    </a:lnTo>
                    <a:lnTo>
                      <a:pt x="1083" y="373"/>
                    </a:lnTo>
                    <a:lnTo>
                      <a:pt x="1083" y="373"/>
                    </a:lnTo>
                    <a:lnTo>
                      <a:pt x="1088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3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73"/>
                    </a:lnTo>
                    <a:lnTo>
                      <a:pt x="1097" y="395"/>
                    </a:lnTo>
                    <a:lnTo>
                      <a:pt x="1093" y="421"/>
                    </a:lnTo>
                    <a:lnTo>
                      <a:pt x="1093" y="448"/>
                    </a:lnTo>
                    <a:lnTo>
                      <a:pt x="1088" y="464"/>
                    </a:lnTo>
                    <a:lnTo>
                      <a:pt x="1083" y="464"/>
                    </a:lnTo>
                    <a:lnTo>
                      <a:pt x="1078" y="464"/>
                    </a:lnTo>
                    <a:lnTo>
                      <a:pt x="1073" y="464"/>
                    </a:lnTo>
                    <a:lnTo>
                      <a:pt x="1069" y="469"/>
                    </a:lnTo>
                    <a:lnTo>
                      <a:pt x="1064" y="512"/>
                    </a:lnTo>
                    <a:lnTo>
                      <a:pt x="1064" y="565"/>
                    </a:lnTo>
                    <a:lnTo>
                      <a:pt x="1064" y="619"/>
                    </a:lnTo>
                    <a:lnTo>
                      <a:pt x="1064" y="667"/>
                    </a:lnTo>
                    <a:lnTo>
                      <a:pt x="1064" y="667"/>
                    </a:lnTo>
                    <a:lnTo>
                      <a:pt x="1069" y="667"/>
                    </a:lnTo>
                    <a:lnTo>
                      <a:pt x="1069" y="667"/>
                    </a:lnTo>
                    <a:lnTo>
                      <a:pt x="1073" y="667"/>
                    </a:lnTo>
                    <a:lnTo>
                      <a:pt x="1073" y="667"/>
                    </a:lnTo>
                    <a:lnTo>
                      <a:pt x="1078" y="667"/>
                    </a:lnTo>
                    <a:lnTo>
                      <a:pt x="1083" y="667"/>
                    </a:lnTo>
                    <a:lnTo>
                      <a:pt x="1083" y="667"/>
                    </a:lnTo>
                    <a:lnTo>
                      <a:pt x="1088" y="672"/>
                    </a:lnTo>
                    <a:lnTo>
                      <a:pt x="1088" y="688"/>
                    </a:lnTo>
                    <a:lnTo>
                      <a:pt x="1083" y="709"/>
                    </a:lnTo>
                    <a:lnTo>
                      <a:pt x="1083" y="731"/>
                    </a:lnTo>
                    <a:lnTo>
                      <a:pt x="1083" y="747"/>
                    </a:lnTo>
                    <a:lnTo>
                      <a:pt x="1064" y="763"/>
                    </a:lnTo>
                    <a:lnTo>
                      <a:pt x="1064" y="779"/>
                    </a:lnTo>
                    <a:lnTo>
                      <a:pt x="1064" y="795"/>
                    </a:lnTo>
                    <a:lnTo>
                      <a:pt x="1064" y="811"/>
                    </a:lnTo>
                    <a:lnTo>
                      <a:pt x="1064" y="827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64" y="832"/>
                    </a:lnTo>
                    <a:lnTo>
                      <a:pt x="1059" y="832"/>
                    </a:lnTo>
                    <a:lnTo>
                      <a:pt x="1054" y="832"/>
                    </a:lnTo>
                    <a:lnTo>
                      <a:pt x="1049" y="832"/>
                    </a:lnTo>
                    <a:lnTo>
                      <a:pt x="1040" y="832"/>
                    </a:lnTo>
                    <a:lnTo>
                      <a:pt x="1035" y="837"/>
                    </a:lnTo>
                    <a:lnTo>
                      <a:pt x="1030" y="837"/>
                    </a:lnTo>
                    <a:lnTo>
                      <a:pt x="1025" y="837"/>
                    </a:lnTo>
                    <a:lnTo>
                      <a:pt x="1021" y="837"/>
                    </a:lnTo>
                    <a:lnTo>
                      <a:pt x="1016" y="837"/>
                    </a:lnTo>
                    <a:lnTo>
                      <a:pt x="1016" y="837"/>
                    </a:lnTo>
                    <a:lnTo>
                      <a:pt x="1011" y="837"/>
                    </a:lnTo>
                    <a:lnTo>
                      <a:pt x="1011" y="837"/>
                    </a:lnTo>
                    <a:lnTo>
                      <a:pt x="1016" y="763"/>
                    </a:lnTo>
                    <a:lnTo>
                      <a:pt x="1011" y="763"/>
                    </a:lnTo>
                    <a:lnTo>
                      <a:pt x="1006" y="763"/>
                    </a:lnTo>
                    <a:lnTo>
                      <a:pt x="992" y="757"/>
                    </a:lnTo>
                    <a:lnTo>
                      <a:pt x="978" y="757"/>
                    </a:lnTo>
                    <a:lnTo>
                      <a:pt x="954" y="757"/>
                    </a:lnTo>
                    <a:lnTo>
                      <a:pt x="930" y="752"/>
                    </a:lnTo>
                    <a:lnTo>
                      <a:pt x="906" y="752"/>
                    </a:lnTo>
                    <a:lnTo>
                      <a:pt x="877" y="747"/>
                    </a:lnTo>
                    <a:lnTo>
                      <a:pt x="843" y="747"/>
                    </a:lnTo>
                    <a:lnTo>
                      <a:pt x="810" y="741"/>
                    </a:lnTo>
                    <a:lnTo>
                      <a:pt x="771" y="741"/>
                    </a:lnTo>
                    <a:lnTo>
                      <a:pt x="733" y="736"/>
                    </a:lnTo>
                    <a:lnTo>
                      <a:pt x="695" y="736"/>
                    </a:lnTo>
                    <a:lnTo>
                      <a:pt x="656" y="731"/>
                    </a:lnTo>
                    <a:lnTo>
                      <a:pt x="613" y="731"/>
                    </a:lnTo>
                    <a:lnTo>
                      <a:pt x="570" y="725"/>
                    </a:lnTo>
                    <a:lnTo>
                      <a:pt x="570" y="597"/>
                    </a:lnTo>
                    <a:lnTo>
                      <a:pt x="599" y="603"/>
                    </a:lnTo>
                    <a:lnTo>
                      <a:pt x="628" y="603"/>
                    </a:lnTo>
                    <a:lnTo>
                      <a:pt x="656" y="608"/>
                    </a:lnTo>
                    <a:lnTo>
                      <a:pt x="685" y="608"/>
                    </a:lnTo>
                    <a:lnTo>
                      <a:pt x="714" y="613"/>
                    </a:lnTo>
                    <a:lnTo>
                      <a:pt x="743" y="619"/>
                    </a:lnTo>
                    <a:lnTo>
                      <a:pt x="767" y="624"/>
                    </a:lnTo>
                    <a:lnTo>
                      <a:pt x="795" y="624"/>
                    </a:lnTo>
                    <a:lnTo>
                      <a:pt x="824" y="629"/>
                    </a:lnTo>
                    <a:lnTo>
                      <a:pt x="853" y="635"/>
                    </a:lnTo>
                    <a:lnTo>
                      <a:pt x="882" y="635"/>
                    </a:lnTo>
                    <a:lnTo>
                      <a:pt x="910" y="640"/>
                    </a:lnTo>
                    <a:lnTo>
                      <a:pt x="934" y="645"/>
                    </a:lnTo>
                    <a:lnTo>
                      <a:pt x="963" y="651"/>
                    </a:lnTo>
                    <a:lnTo>
                      <a:pt x="992" y="651"/>
                    </a:lnTo>
                    <a:lnTo>
                      <a:pt x="1021" y="656"/>
                    </a:lnTo>
                    <a:lnTo>
                      <a:pt x="1021" y="608"/>
                    </a:lnTo>
                    <a:lnTo>
                      <a:pt x="1025" y="560"/>
                    </a:lnTo>
                    <a:lnTo>
                      <a:pt x="1025" y="512"/>
                    </a:lnTo>
                    <a:lnTo>
                      <a:pt x="1025" y="464"/>
                    </a:lnTo>
                    <a:lnTo>
                      <a:pt x="997" y="459"/>
                    </a:lnTo>
                    <a:lnTo>
                      <a:pt x="968" y="453"/>
                    </a:lnTo>
                    <a:lnTo>
                      <a:pt x="939" y="448"/>
                    </a:lnTo>
                    <a:lnTo>
                      <a:pt x="910" y="437"/>
                    </a:lnTo>
                    <a:lnTo>
                      <a:pt x="886" y="432"/>
                    </a:lnTo>
                    <a:lnTo>
                      <a:pt x="858" y="427"/>
                    </a:lnTo>
                    <a:lnTo>
                      <a:pt x="829" y="421"/>
                    </a:lnTo>
                    <a:lnTo>
                      <a:pt x="800" y="416"/>
                    </a:lnTo>
                    <a:lnTo>
                      <a:pt x="771" y="405"/>
                    </a:lnTo>
                    <a:lnTo>
                      <a:pt x="743" y="400"/>
                    </a:lnTo>
                    <a:lnTo>
                      <a:pt x="714" y="395"/>
                    </a:lnTo>
                    <a:lnTo>
                      <a:pt x="685" y="389"/>
                    </a:lnTo>
                    <a:lnTo>
                      <a:pt x="656" y="384"/>
                    </a:lnTo>
                    <a:lnTo>
                      <a:pt x="628" y="373"/>
                    </a:lnTo>
                    <a:lnTo>
                      <a:pt x="599" y="368"/>
                    </a:lnTo>
                    <a:lnTo>
                      <a:pt x="570" y="363"/>
                    </a:lnTo>
                    <a:lnTo>
                      <a:pt x="570" y="229"/>
                    </a:lnTo>
                    <a:close/>
                    <a:moveTo>
                      <a:pt x="101" y="5"/>
                    </a:moveTo>
                    <a:lnTo>
                      <a:pt x="120" y="21"/>
                    </a:lnTo>
                    <a:lnTo>
                      <a:pt x="120" y="37"/>
                    </a:lnTo>
                    <a:lnTo>
                      <a:pt x="120" y="53"/>
                    </a:lnTo>
                    <a:lnTo>
                      <a:pt x="120" y="69"/>
                    </a:lnTo>
                    <a:lnTo>
                      <a:pt x="120" y="85"/>
                    </a:lnTo>
                    <a:lnTo>
                      <a:pt x="144" y="91"/>
                    </a:lnTo>
                    <a:lnTo>
                      <a:pt x="172" y="101"/>
                    </a:lnTo>
                    <a:lnTo>
                      <a:pt x="201" y="112"/>
                    </a:lnTo>
                    <a:lnTo>
                      <a:pt x="230" y="123"/>
                    </a:lnTo>
                    <a:lnTo>
                      <a:pt x="259" y="133"/>
                    </a:lnTo>
                    <a:lnTo>
                      <a:pt x="287" y="144"/>
                    </a:lnTo>
                    <a:lnTo>
                      <a:pt x="316" y="149"/>
                    </a:lnTo>
                    <a:lnTo>
                      <a:pt x="345" y="160"/>
                    </a:lnTo>
                    <a:lnTo>
                      <a:pt x="369" y="171"/>
                    </a:lnTo>
                    <a:lnTo>
                      <a:pt x="398" y="176"/>
                    </a:lnTo>
                    <a:lnTo>
                      <a:pt x="426" y="187"/>
                    </a:lnTo>
                    <a:lnTo>
                      <a:pt x="455" y="197"/>
                    </a:lnTo>
                    <a:lnTo>
                      <a:pt x="484" y="203"/>
                    </a:lnTo>
                    <a:lnTo>
                      <a:pt x="513" y="213"/>
                    </a:lnTo>
                    <a:lnTo>
                      <a:pt x="541" y="224"/>
                    </a:lnTo>
                    <a:lnTo>
                      <a:pt x="570" y="229"/>
                    </a:lnTo>
                    <a:lnTo>
                      <a:pt x="570" y="363"/>
                    </a:lnTo>
                    <a:lnTo>
                      <a:pt x="541" y="357"/>
                    </a:lnTo>
                    <a:lnTo>
                      <a:pt x="517" y="352"/>
                    </a:lnTo>
                    <a:lnTo>
                      <a:pt x="489" y="341"/>
                    </a:lnTo>
                    <a:lnTo>
                      <a:pt x="460" y="336"/>
                    </a:lnTo>
                    <a:lnTo>
                      <a:pt x="431" y="331"/>
                    </a:lnTo>
                    <a:lnTo>
                      <a:pt x="402" y="325"/>
                    </a:lnTo>
                    <a:lnTo>
                      <a:pt x="374" y="315"/>
                    </a:lnTo>
                    <a:lnTo>
                      <a:pt x="345" y="309"/>
                    </a:lnTo>
                    <a:lnTo>
                      <a:pt x="316" y="304"/>
                    </a:lnTo>
                    <a:lnTo>
                      <a:pt x="287" y="299"/>
                    </a:lnTo>
                    <a:lnTo>
                      <a:pt x="259" y="288"/>
                    </a:lnTo>
                    <a:lnTo>
                      <a:pt x="230" y="283"/>
                    </a:lnTo>
                    <a:lnTo>
                      <a:pt x="201" y="277"/>
                    </a:lnTo>
                    <a:lnTo>
                      <a:pt x="177" y="272"/>
                    </a:lnTo>
                    <a:lnTo>
                      <a:pt x="148" y="267"/>
                    </a:lnTo>
                    <a:lnTo>
                      <a:pt x="120" y="261"/>
                    </a:lnTo>
                    <a:lnTo>
                      <a:pt x="120" y="283"/>
                    </a:lnTo>
                    <a:lnTo>
                      <a:pt x="120" y="309"/>
                    </a:lnTo>
                    <a:lnTo>
                      <a:pt x="120" y="336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357"/>
                    </a:lnTo>
                    <a:lnTo>
                      <a:pt x="120" y="400"/>
                    </a:lnTo>
                    <a:lnTo>
                      <a:pt x="120" y="443"/>
                    </a:lnTo>
                    <a:lnTo>
                      <a:pt x="120" y="485"/>
                    </a:lnTo>
                    <a:lnTo>
                      <a:pt x="120" y="528"/>
                    </a:lnTo>
                    <a:lnTo>
                      <a:pt x="148" y="533"/>
                    </a:lnTo>
                    <a:lnTo>
                      <a:pt x="177" y="539"/>
                    </a:lnTo>
                    <a:lnTo>
                      <a:pt x="206" y="544"/>
                    </a:lnTo>
                    <a:lnTo>
                      <a:pt x="235" y="549"/>
                    </a:lnTo>
                    <a:lnTo>
                      <a:pt x="263" y="549"/>
                    </a:lnTo>
                    <a:lnTo>
                      <a:pt x="292" y="555"/>
                    </a:lnTo>
                    <a:lnTo>
                      <a:pt x="316" y="560"/>
                    </a:lnTo>
                    <a:lnTo>
                      <a:pt x="345" y="565"/>
                    </a:lnTo>
                    <a:lnTo>
                      <a:pt x="374" y="571"/>
                    </a:lnTo>
                    <a:lnTo>
                      <a:pt x="402" y="576"/>
                    </a:lnTo>
                    <a:lnTo>
                      <a:pt x="431" y="576"/>
                    </a:lnTo>
                    <a:lnTo>
                      <a:pt x="460" y="581"/>
                    </a:lnTo>
                    <a:lnTo>
                      <a:pt x="489" y="587"/>
                    </a:lnTo>
                    <a:lnTo>
                      <a:pt x="517" y="587"/>
                    </a:lnTo>
                    <a:lnTo>
                      <a:pt x="541" y="592"/>
                    </a:lnTo>
                    <a:lnTo>
                      <a:pt x="570" y="597"/>
                    </a:lnTo>
                    <a:lnTo>
                      <a:pt x="570" y="725"/>
                    </a:lnTo>
                    <a:lnTo>
                      <a:pt x="532" y="720"/>
                    </a:lnTo>
                    <a:lnTo>
                      <a:pt x="494" y="720"/>
                    </a:lnTo>
                    <a:lnTo>
                      <a:pt x="455" y="715"/>
                    </a:lnTo>
                    <a:lnTo>
                      <a:pt x="422" y="715"/>
                    </a:lnTo>
                    <a:lnTo>
                      <a:pt x="383" y="715"/>
                    </a:lnTo>
                    <a:lnTo>
                      <a:pt x="350" y="709"/>
                    </a:lnTo>
                    <a:lnTo>
                      <a:pt x="316" y="709"/>
                    </a:lnTo>
                    <a:lnTo>
                      <a:pt x="283" y="704"/>
                    </a:lnTo>
                    <a:lnTo>
                      <a:pt x="254" y="704"/>
                    </a:lnTo>
                    <a:lnTo>
                      <a:pt x="230" y="704"/>
                    </a:lnTo>
                    <a:lnTo>
                      <a:pt x="201" y="704"/>
                    </a:lnTo>
                    <a:lnTo>
                      <a:pt x="182" y="699"/>
                    </a:lnTo>
                    <a:lnTo>
                      <a:pt x="163" y="699"/>
                    </a:lnTo>
                    <a:lnTo>
                      <a:pt x="148" y="699"/>
                    </a:lnTo>
                    <a:lnTo>
                      <a:pt x="134" y="699"/>
                    </a:lnTo>
                    <a:lnTo>
                      <a:pt x="125" y="699"/>
                    </a:lnTo>
                    <a:lnTo>
                      <a:pt x="125" y="736"/>
                    </a:lnTo>
                    <a:lnTo>
                      <a:pt x="129" y="779"/>
                    </a:lnTo>
                    <a:lnTo>
                      <a:pt x="129" y="821"/>
                    </a:lnTo>
                    <a:lnTo>
                      <a:pt x="129" y="859"/>
                    </a:lnTo>
                    <a:lnTo>
                      <a:pt x="125" y="864"/>
                    </a:lnTo>
                    <a:lnTo>
                      <a:pt x="115" y="864"/>
                    </a:lnTo>
                    <a:lnTo>
                      <a:pt x="105" y="864"/>
                    </a:lnTo>
                    <a:lnTo>
                      <a:pt x="101" y="864"/>
                    </a:lnTo>
                    <a:lnTo>
                      <a:pt x="91" y="864"/>
                    </a:lnTo>
                    <a:lnTo>
                      <a:pt x="86" y="864"/>
                    </a:lnTo>
                    <a:lnTo>
                      <a:pt x="81" y="864"/>
                    </a:lnTo>
                    <a:lnTo>
                      <a:pt x="72" y="864"/>
                    </a:lnTo>
                    <a:lnTo>
                      <a:pt x="72" y="837"/>
                    </a:lnTo>
                    <a:lnTo>
                      <a:pt x="72" y="784"/>
                    </a:lnTo>
                    <a:lnTo>
                      <a:pt x="72" y="725"/>
                    </a:lnTo>
                    <a:lnTo>
                      <a:pt x="72" y="693"/>
                    </a:lnTo>
                    <a:lnTo>
                      <a:pt x="62" y="688"/>
                    </a:lnTo>
                    <a:lnTo>
                      <a:pt x="53" y="688"/>
                    </a:lnTo>
                    <a:lnTo>
                      <a:pt x="48" y="688"/>
                    </a:lnTo>
                    <a:lnTo>
                      <a:pt x="38" y="688"/>
                    </a:lnTo>
                    <a:lnTo>
                      <a:pt x="33" y="688"/>
                    </a:lnTo>
                    <a:lnTo>
                      <a:pt x="24" y="688"/>
                    </a:lnTo>
                    <a:lnTo>
                      <a:pt x="14" y="688"/>
                    </a:lnTo>
                    <a:lnTo>
                      <a:pt x="10" y="688"/>
                    </a:lnTo>
                    <a:lnTo>
                      <a:pt x="5" y="683"/>
                    </a:lnTo>
                    <a:lnTo>
                      <a:pt x="5" y="645"/>
                    </a:lnTo>
                    <a:lnTo>
                      <a:pt x="5" y="608"/>
                    </a:lnTo>
                    <a:lnTo>
                      <a:pt x="0" y="571"/>
                    </a:lnTo>
                    <a:lnTo>
                      <a:pt x="0" y="533"/>
                    </a:lnTo>
                    <a:lnTo>
                      <a:pt x="5" y="528"/>
                    </a:lnTo>
                    <a:lnTo>
                      <a:pt x="5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14" y="528"/>
                    </a:lnTo>
                    <a:lnTo>
                      <a:pt x="19" y="523"/>
                    </a:lnTo>
                    <a:lnTo>
                      <a:pt x="24" y="517"/>
                    </a:lnTo>
                    <a:lnTo>
                      <a:pt x="29" y="512"/>
                    </a:lnTo>
                    <a:lnTo>
                      <a:pt x="33" y="512"/>
                    </a:lnTo>
                    <a:lnTo>
                      <a:pt x="38" y="512"/>
                    </a:lnTo>
                    <a:lnTo>
                      <a:pt x="43" y="512"/>
                    </a:lnTo>
                    <a:lnTo>
                      <a:pt x="53" y="517"/>
                    </a:lnTo>
                    <a:lnTo>
                      <a:pt x="57" y="517"/>
                    </a:lnTo>
                    <a:lnTo>
                      <a:pt x="62" y="517"/>
                    </a:lnTo>
                    <a:lnTo>
                      <a:pt x="62" y="517"/>
                    </a:lnTo>
                    <a:lnTo>
                      <a:pt x="67" y="517"/>
                    </a:lnTo>
                    <a:lnTo>
                      <a:pt x="72" y="448"/>
                    </a:lnTo>
                    <a:lnTo>
                      <a:pt x="72" y="384"/>
                    </a:lnTo>
                    <a:lnTo>
                      <a:pt x="67" y="315"/>
                    </a:lnTo>
                    <a:lnTo>
                      <a:pt x="72" y="251"/>
                    </a:lnTo>
                    <a:lnTo>
                      <a:pt x="62" y="245"/>
                    </a:lnTo>
                    <a:lnTo>
                      <a:pt x="57" y="245"/>
                    </a:lnTo>
                    <a:lnTo>
                      <a:pt x="48" y="240"/>
                    </a:lnTo>
                    <a:lnTo>
                      <a:pt x="43" y="240"/>
                    </a:lnTo>
                    <a:lnTo>
                      <a:pt x="33" y="235"/>
                    </a:lnTo>
                    <a:lnTo>
                      <a:pt x="24" y="235"/>
                    </a:lnTo>
                    <a:lnTo>
                      <a:pt x="19" y="235"/>
                    </a:lnTo>
                    <a:lnTo>
                      <a:pt x="10" y="235"/>
                    </a:lnTo>
                    <a:lnTo>
                      <a:pt x="19" y="197"/>
                    </a:lnTo>
                    <a:lnTo>
                      <a:pt x="14" y="149"/>
                    </a:lnTo>
                    <a:lnTo>
                      <a:pt x="14" y="101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59"/>
                    </a:lnTo>
                    <a:lnTo>
                      <a:pt x="19" y="59"/>
                    </a:lnTo>
                    <a:lnTo>
                      <a:pt x="24" y="59"/>
                    </a:lnTo>
                    <a:lnTo>
                      <a:pt x="29" y="59"/>
                    </a:lnTo>
                    <a:lnTo>
                      <a:pt x="33" y="53"/>
                    </a:lnTo>
                    <a:lnTo>
                      <a:pt x="38" y="48"/>
                    </a:lnTo>
                    <a:lnTo>
                      <a:pt x="43" y="48"/>
                    </a:lnTo>
                    <a:lnTo>
                      <a:pt x="43" y="53"/>
                    </a:lnTo>
                    <a:lnTo>
                      <a:pt x="48" y="53"/>
                    </a:lnTo>
                    <a:lnTo>
                      <a:pt x="53" y="59"/>
                    </a:lnTo>
                    <a:lnTo>
                      <a:pt x="57" y="59"/>
                    </a:lnTo>
                    <a:lnTo>
                      <a:pt x="62" y="59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2" y="53"/>
                    </a:lnTo>
                    <a:lnTo>
                      <a:pt x="72" y="43"/>
                    </a:lnTo>
                    <a:lnTo>
                      <a:pt x="72" y="32"/>
                    </a:lnTo>
                    <a:lnTo>
                      <a:pt x="72" y="27"/>
                    </a:lnTo>
                    <a:lnTo>
                      <a:pt x="72" y="21"/>
                    </a:lnTo>
                    <a:lnTo>
                      <a:pt x="72" y="16"/>
                    </a:lnTo>
                    <a:lnTo>
                      <a:pt x="77" y="16"/>
                    </a:lnTo>
                    <a:lnTo>
                      <a:pt x="81" y="11"/>
                    </a:lnTo>
                    <a:lnTo>
                      <a:pt x="86" y="11"/>
                    </a:lnTo>
                    <a:lnTo>
                      <a:pt x="86" y="5"/>
                    </a:lnTo>
                    <a:lnTo>
                      <a:pt x="91" y="5"/>
                    </a:lnTo>
                    <a:lnTo>
                      <a:pt x="96" y="0"/>
                    </a:lnTo>
                    <a:lnTo>
                      <a:pt x="96" y="0"/>
                    </a:lnTo>
                    <a:lnTo>
                      <a:pt x="101" y="0"/>
                    </a:lnTo>
                    <a:lnTo>
                      <a:pt x="101" y="0"/>
                    </a:lnTo>
                    <a:lnTo>
                      <a:pt x="101" y="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8" name="Freeform 79">
                <a:extLst>
                  <a:ext uri="{FF2B5EF4-FFF2-40B4-BE49-F238E27FC236}">
                    <a16:creationId xmlns:a16="http://schemas.microsoft.com/office/drawing/2014/main" id="{2B20F987-F686-2FE2-6FD2-AC7F06926A2C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auto">
              <a:xfrm>
                <a:off x="2127" y="2176"/>
                <a:ext cx="24" cy="837"/>
              </a:xfrm>
              <a:custGeom>
                <a:avLst/>
                <a:gdLst>
                  <a:gd name="T0" fmla="*/ 24 w 24"/>
                  <a:gd name="T1" fmla="*/ 837 h 837"/>
                  <a:gd name="T2" fmla="*/ 19 w 24"/>
                  <a:gd name="T3" fmla="*/ 837 h 837"/>
                  <a:gd name="T4" fmla="*/ 14 w 24"/>
                  <a:gd name="T5" fmla="*/ 837 h 837"/>
                  <a:gd name="T6" fmla="*/ 9 w 24"/>
                  <a:gd name="T7" fmla="*/ 837 h 837"/>
                  <a:gd name="T8" fmla="*/ 9 w 24"/>
                  <a:gd name="T9" fmla="*/ 837 h 837"/>
                  <a:gd name="T10" fmla="*/ 5 w 24"/>
                  <a:gd name="T11" fmla="*/ 629 h 837"/>
                  <a:gd name="T12" fmla="*/ 0 w 24"/>
                  <a:gd name="T13" fmla="*/ 421 h 837"/>
                  <a:gd name="T14" fmla="*/ 0 w 24"/>
                  <a:gd name="T15" fmla="*/ 213 h 837"/>
                  <a:gd name="T16" fmla="*/ 5 w 24"/>
                  <a:gd name="T17" fmla="*/ 0 h 837"/>
                  <a:gd name="T18" fmla="*/ 5 w 24"/>
                  <a:gd name="T19" fmla="*/ 5 h 837"/>
                  <a:gd name="T20" fmla="*/ 9 w 24"/>
                  <a:gd name="T21" fmla="*/ 5 h 837"/>
                  <a:gd name="T22" fmla="*/ 14 w 24"/>
                  <a:gd name="T23" fmla="*/ 10 h 837"/>
                  <a:gd name="T24" fmla="*/ 14 w 24"/>
                  <a:gd name="T25" fmla="*/ 10 h 837"/>
                  <a:gd name="T26" fmla="*/ 19 w 24"/>
                  <a:gd name="T27" fmla="*/ 218 h 837"/>
                  <a:gd name="T28" fmla="*/ 19 w 24"/>
                  <a:gd name="T29" fmla="*/ 421 h 837"/>
                  <a:gd name="T30" fmla="*/ 24 w 24"/>
                  <a:gd name="T31" fmla="*/ 629 h 837"/>
                  <a:gd name="T32" fmla="*/ 24 w 24"/>
                  <a:gd name="T33" fmla="*/ 837 h 8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7">
                    <a:moveTo>
                      <a:pt x="24" y="837"/>
                    </a:moveTo>
                    <a:lnTo>
                      <a:pt x="19" y="837"/>
                    </a:lnTo>
                    <a:lnTo>
                      <a:pt x="14" y="837"/>
                    </a:lnTo>
                    <a:lnTo>
                      <a:pt x="9" y="837"/>
                    </a:lnTo>
                    <a:lnTo>
                      <a:pt x="9" y="837"/>
                    </a:lnTo>
                    <a:lnTo>
                      <a:pt x="5" y="629"/>
                    </a:lnTo>
                    <a:lnTo>
                      <a:pt x="0" y="421"/>
                    </a:lnTo>
                    <a:lnTo>
                      <a:pt x="0" y="213"/>
                    </a:lnTo>
                    <a:lnTo>
                      <a:pt x="5" y="0"/>
                    </a:lnTo>
                    <a:lnTo>
                      <a:pt x="5" y="5"/>
                    </a:lnTo>
                    <a:lnTo>
                      <a:pt x="9" y="5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9" y="218"/>
                    </a:lnTo>
                    <a:lnTo>
                      <a:pt x="19" y="421"/>
                    </a:lnTo>
                    <a:lnTo>
                      <a:pt x="24" y="629"/>
                    </a:lnTo>
                    <a:lnTo>
                      <a:pt x="24" y="837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9" name="Freeform 80">
                <a:extLst>
                  <a:ext uri="{FF2B5EF4-FFF2-40B4-BE49-F238E27FC236}">
                    <a16:creationId xmlns:a16="http://schemas.microsoft.com/office/drawing/2014/main" id="{712EA8CA-2141-EA44-AF09-47E12B4E7452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auto">
              <a:xfrm>
                <a:off x="2103" y="2181"/>
                <a:ext cx="24" cy="832"/>
              </a:xfrm>
              <a:custGeom>
                <a:avLst/>
                <a:gdLst>
                  <a:gd name="T0" fmla="*/ 19 w 24"/>
                  <a:gd name="T1" fmla="*/ 0 h 832"/>
                  <a:gd name="T2" fmla="*/ 19 w 24"/>
                  <a:gd name="T3" fmla="*/ 208 h 832"/>
                  <a:gd name="T4" fmla="*/ 19 w 24"/>
                  <a:gd name="T5" fmla="*/ 416 h 832"/>
                  <a:gd name="T6" fmla="*/ 19 w 24"/>
                  <a:gd name="T7" fmla="*/ 624 h 832"/>
                  <a:gd name="T8" fmla="*/ 24 w 24"/>
                  <a:gd name="T9" fmla="*/ 832 h 832"/>
                  <a:gd name="T10" fmla="*/ 19 w 24"/>
                  <a:gd name="T11" fmla="*/ 832 h 832"/>
                  <a:gd name="T12" fmla="*/ 14 w 24"/>
                  <a:gd name="T13" fmla="*/ 832 h 832"/>
                  <a:gd name="T14" fmla="*/ 9 w 24"/>
                  <a:gd name="T15" fmla="*/ 832 h 832"/>
                  <a:gd name="T16" fmla="*/ 5 w 24"/>
                  <a:gd name="T17" fmla="*/ 832 h 832"/>
                  <a:gd name="T18" fmla="*/ 0 w 24"/>
                  <a:gd name="T19" fmla="*/ 635 h 832"/>
                  <a:gd name="T20" fmla="*/ 0 w 24"/>
                  <a:gd name="T21" fmla="*/ 432 h 832"/>
                  <a:gd name="T22" fmla="*/ 0 w 24"/>
                  <a:gd name="T23" fmla="*/ 229 h 832"/>
                  <a:gd name="T24" fmla="*/ 5 w 24"/>
                  <a:gd name="T25" fmla="*/ 21 h 832"/>
                  <a:gd name="T26" fmla="*/ 5 w 24"/>
                  <a:gd name="T27" fmla="*/ 11 h 832"/>
                  <a:gd name="T28" fmla="*/ 9 w 24"/>
                  <a:gd name="T29" fmla="*/ 5 h 832"/>
                  <a:gd name="T30" fmla="*/ 14 w 24"/>
                  <a:gd name="T31" fmla="*/ 0 h 832"/>
                  <a:gd name="T32" fmla="*/ 19 w 24"/>
                  <a:gd name="T33" fmla="*/ 0 h 8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4" h="832">
                    <a:moveTo>
                      <a:pt x="19" y="0"/>
                    </a:moveTo>
                    <a:lnTo>
                      <a:pt x="19" y="208"/>
                    </a:lnTo>
                    <a:lnTo>
                      <a:pt x="19" y="416"/>
                    </a:lnTo>
                    <a:lnTo>
                      <a:pt x="19" y="624"/>
                    </a:lnTo>
                    <a:lnTo>
                      <a:pt x="24" y="832"/>
                    </a:lnTo>
                    <a:lnTo>
                      <a:pt x="19" y="832"/>
                    </a:lnTo>
                    <a:lnTo>
                      <a:pt x="14" y="832"/>
                    </a:lnTo>
                    <a:lnTo>
                      <a:pt x="9" y="832"/>
                    </a:lnTo>
                    <a:lnTo>
                      <a:pt x="5" y="832"/>
                    </a:lnTo>
                    <a:lnTo>
                      <a:pt x="0" y="635"/>
                    </a:lnTo>
                    <a:lnTo>
                      <a:pt x="0" y="432"/>
                    </a:lnTo>
                    <a:lnTo>
                      <a:pt x="0" y="229"/>
                    </a:lnTo>
                    <a:lnTo>
                      <a:pt x="5" y="21"/>
                    </a:lnTo>
                    <a:lnTo>
                      <a:pt x="5" y="11"/>
                    </a:lnTo>
                    <a:lnTo>
                      <a:pt x="9" y="5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0" name="Freeform 81">
                <a:extLst>
                  <a:ext uri="{FF2B5EF4-FFF2-40B4-BE49-F238E27FC236}">
                    <a16:creationId xmlns:a16="http://schemas.microsoft.com/office/drawing/2014/main" id="{D95988EC-3DEB-C08E-DD9D-8A46B802F27D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auto">
              <a:xfrm>
                <a:off x="2050" y="2229"/>
                <a:ext cx="19" cy="155"/>
              </a:xfrm>
              <a:custGeom>
                <a:avLst/>
                <a:gdLst>
                  <a:gd name="T0" fmla="*/ 19 w 19"/>
                  <a:gd name="T1" fmla="*/ 0 h 155"/>
                  <a:gd name="T2" fmla="*/ 19 w 19"/>
                  <a:gd name="T3" fmla="*/ 32 h 155"/>
                  <a:gd name="T4" fmla="*/ 19 w 19"/>
                  <a:gd name="T5" fmla="*/ 69 h 155"/>
                  <a:gd name="T6" fmla="*/ 19 w 19"/>
                  <a:gd name="T7" fmla="*/ 107 h 155"/>
                  <a:gd name="T8" fmla="*/ 19 w 19"/>
                  <a:gd name="T9" fmla="*/ 144 h 155"/>
                  <a:gd name="T10" fmla="*/ 19 w 19"/>
                  <a:gd name="T11" fmla="*/ 144 h 155"/>
                  <a:gd name="T12" fmla="*/ 14 w 19"/>
                  <a:gd name="T13" fmla="*/ 149 h 155"/>
                  <a:gd name="T14" fmla="*/ 10 w 19"/>
                  <a:gd name="T15" fmla="*/ 149 h 155"/>
                  <a:gd name="T16" fmla="*/ 0 w 19"/>
                  <a:gd name="T17" fmla="*/ 155 h 155"/>
                  <a:gd name="T18" fmla="*/ 0 w 19"/>
                  <a:gd name="T19" fmla="*/ 117 h 155"/>
                  <a:gd name="T20" fmla="*/ 0 w 19"/>
                  <a:gd name="T21" fmla="*/ 80 h 155"/>
                  <a:gd name="T22" fmla="*/ 0 w 19"/>
                  <a:gd name="T23" fmla="*/ 43 h 155"/>
                  <a:gd name="T24" fmla="*/ 0 w 19"/>
                  <a:gd name="T25" fmla="*/ 5 h 155"/>
                  <a:gd name="T26" fmla="*/ 5 w 19"/>
                  <a:gd name="T27" fmla="*/ 5 h 155"/>
                  <a:gd name="T28" fmla="*/ 10 w 19"/>
                  <a:gd name="T29" fmla="*/ 0 h 155"/>
                  <a:gd name="T30" fmla="*/ 14 w 19"/>
                  <a:gd name="T31" fmla="*/ 0 h 155"/>
                  <a:gd name="T32" fmla="*/ 19 w 19"/>
                  <a:gd name="T33" fmla="*/ 0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155">
                    <a:moveTo>
                      <a:pt x="19" y="0"/>
                    </a:moveTo>
                    <a:lnTo>
                      <a:pt x="19" y="32"/>
                    </a:lnTo>
                    <a:lnTo>
                      <a:pt x="19" y="69"/>
                    </a:lnTo>
                    <a:lnTo>
                      <a:pt x="19" y="107"/>
                    </a:lnTo>
                    <a:lnTo>
                      <a:pt x="19" y="144"/>
                    </a:lnTo>
                    <a:lnTo>
                      <a:pt x="19" y="144"/>
                    </a:lnTo>
                    <a:lnTo>
                      <a:pt x="14" y="149"/>
                    </a:lnTo>
                    <a:lnTo>
                      <a:pt x="10" y="149"/>
                    </a:lnTo>
                    <a:lnTo>
                      <a:pt x="0" y="155"/>
                    </a:lnTo>
                    <a:lnTo>
                      <a:pt x="0" y="117"/>
                    </a:lnTo>
                    <a:lnTo>
                      <a:pt x="0" y="80"/>
                    </a:lnTo>
                    <a:lnTo>
                      <a:pt x="0" y="43"/>
                    </a:lnTo>
                    <a:lnTo>
                      <a:pt x="0" y="5"/>
                    </a:lnTo>
                    <a:lnTo>
                      <a:pt x="5" y="5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1" name="Freeform 82">
                <a:extLst>
                  <a:ext uri="{FF2B5EF4-FFF2-40B4-BE49-F238E27FC236}">
                    <a16:creationId xmlns:a16="http://schemas.microsoft.com/office/drawing/2014/main" id="{4BBCE241-AC29-C79E-6829-0DCF21BE88C9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2074" y="2229"/>
                <a:ext cx="29" cy="155"/>
              </a:xfrm>
              <a:custGeom>
                <a:avLst/>
                <a:gdLst>
                  <a:gd name="T0" fmla="*/ 29 w 29"/>
                  <a:gd name="T1" fmla="*/ 11 h 155"/>
                  <a:gd name="T2" fmla="*/ 29 w 29"/>
                  <a:gd name="T3" fmla="*/ 43 h 155"/>
                  <a:gd name="T4" fmla="*/ 29 w 29"/>
                  <a:gd name="T5" fmla="*/ 80 h 155"/>
                  <a:gd name="T6" fmla="*/ 29 w 29"/>
                  <a:gd name="T7" fmla="*/ 117 h 155"/>
                  <a:gd name="T8" fmla="*/ 29 w 29"/>
                  <a:gd name="T9" fmla="*/ 155 h 155"/>
                  <a:gd name="T10" fmla="*/ 5 w 29"/>
                  <a:gd name="T11" fmla="*/ 144 h 155"/>
                  <a:gd name="T12" fmla="*/ 0 w 29"/>
                  <a:gd name="T13" fmla="*/ 0 h 155"/>
                  <a:gd name="T14" fmla="*/ 29 w 29"/>
                  <a:gd name="T15" fmla="*/ 11 h 1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9" h="155">
                    <a:moveTo>
                      <a:pt x="29" y="11"/>
                    </a:moveTo>
                    <a:lnTo>
                      <a:pt x="29" y="43"/>
                    </a:lnTo>
                    <a:lnTo>
                      <a:pt x="29" y="80"/>
                    </a:lnTo>
                    <a:lnTo>
                      <a:pt x="29" y="117"/>
                    </a:lnTo>
                    <a:lnTo>
                      <a:pt x="29" y="155"/>
                    </a:lnTo>
                    <a:lnTo>
                      <a:pt x="5" y="144"/>
                    </a:lnTo>
                    <a:lnTo>
                      <a:pt x="0" y="0"/>
                    </a:lnTo>
                    <a:lnTo>
                      <a:pt x="29" y="11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2" name="Freeform 83">
                <a:extLst>
                  <a:ext uri="{FF2B5EF4-FFF2-40B4-BE49-F238E27FC236}">
                    <a16:creationId xmlns:a16="http://schemas.microsoft.com/office/drawing/2014/main" id="{39A63153-149B-A2CF-48BC-5E30B3F9F6DC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2146" y="2256"/>
                <a:ext cx="225" cy="149"/>
              </a:xfrm>
              <a:custGeom>
                <a:avLst/>
                <a:gdLst>
                  <a:gd name="T0" fmla="*/ 48 w 225"/>
                  <a:gd name="T1" fmla="*/ 149 h 149"/>
                  <a:gd name="T2" fmla="*/ 43 w 225"/>
                  <a:gd name="T3" fmla="*/ 149 h 149"/>
                  <a:gd name="T4" fmla="*/ 38 w 225"/>
                  <a:gd name="T5" fmla="*/ 144 h 149"/>
                  <a:gd name="T6" fmla="*/ 33 w 225"/>
                  <a:gd name="T7" fmla="*/ 144 h 149"/>
                  <a:gd name="T8" fmla="*/ 24 w 225"/>
                  <a:gd name="T9" fmla="*/ 144 h 149"/>
                  <a:gd name="T10" fmla="*/ 19 w 225"/>
                  <a:gd name="T11" fmla="*/ 144 h 149"/>
                  <a:gd name="T12" fmla="*/ 14 w 225"/>
                  <a:gd name="T13" fmla="*/ 138 h 149"/>
                  <a:gd name="T14" fmla="*/ 10 w 225"/>
                  <a:gd name="T15" fmla="*/ 138 h 149"/>
                  <a:gd name="T16" fmla="*/ 5 w 225"/>
                  <a:gd name="T17" fmla="*/ 133 h 149"/>
                  <a:gd name="T18" fmla="*/ 0 w 225"/>
                  <a:gd name="T19" fmla="*/ 101 h 149"/>
                  <a:gd name="T20" fmla="*/ 5 w 225"/>
                  <a:gd name="T21" fmla="*/ 69 h 149"/>
                  <a:gd name="T22" fmla="*/ 5 w 225"/>
                  <a:gd name="T23" fmla="*/ 37 h 149"/>
                  <a:gd name="T24" fmla="*/ 5 w 225"/>
                  <a:gd name="T25" fmla="*/ 0 h 149"/>
                  <a:gd name="T26" fmla="*/ 19 w 225"/>
                  <a:gd name="T27" fmla="*/ 5 h 149"/>
                  <a:gd name="T28" fmla="*/ 33 w 225"/>
                  <a:gd name="T29" fmla="*/ 10 h 149"/>
                  <a:gd name="T30" fmla="*/ 43 w 225"/>
                  <a:gd name="T31" fmla="*/ 16 h 149"/>
                  <a:gd name="T32" fmla="*/ 57 w 225"/>
                  <a:gd name="T33" fmla="*/ 16 h 149"/>
                  <a:gd name="T34" fmla="*/ 72 w 225"/>
                  <a:gd name="T35" fmla="*/ 21 h 149"/>
                  <a:gd name="T36" fmla="*/ 86 w 225"/>
                  <a:gd name="T37" fmla="*/ 26 h 149"/>
                  <a:gd name="T38" fmla="*/ 101 w 225"/>
                  <a:gd name="T39" fmla="*/ 32 h 149"/>
                  <a:gd name="T40" fmla="*/ 115 w 225"/>
                  <a:gd name="T41" fmla="*/ 37 h 149"/>
                  <a:gd name="T42" fmla="*/ 129 w 225"/>
                  <a:gd name="T43" fmla="*/ 42 h 149"/>
                  <a:gd name="T44" fmla="*/ 144 w 225"/>
                  <a:gd name="T45" fmla="*/ 48 h 149"/>
                  <a:gd name="T46" fmla="*/ 153 w 225"/>
                  <a:gd name="T47" fmla="*/ 53 h 149"/>
                  <a:gd name="T48" fmla="*/ 168 w 225"/>
                  <a:gd name="T49" fmla="*/ 53 h 149"/>
                  <a:gd name="T50" fmla="*/ 182 w 225"/>
                  <a:gd name="T51" fmla="*/ 58 h 149"/>
                  <a:gd name="T52" fmla="*/ 196 w 225"/>
                  <a:gd name="T53" fmla="*/ 64 h 149"/>
                  <a:gd name="T54" fmla="*/ 211 w 225"/>
                  <a:gd name="T55" fmla="*/ 69 h 149"/>
                  <a:gd name="T56" fmla="*/ 225 w 225"/>
                  <a:gd name="T57" fmla="*/ 74 h 149"/>
                  <a:gd name="T58" fmla="*/ 216 w 225"/>
                  <a:gd name="T59" fmla="*/ 74 h 149"/>
                  <a:gd name="T60" fmla="*/ 201 w 225"/>
                  <a:gd name="T61" fmla="*/ 80 h 149"/>
                  <a:gd name="T62" fmla="*/ 192 w 225"/>
                  <a:gd name="T63" fmla="*/ 85 h 149"/>
                  <a:gd name="T64" fmla="*/ 182 w 225"/>
                  <a:gd name="T65" fmla="*/ 90 h 149"/>
                  <a:gd name="T66" fmla="*/ 172 w 225"/>
                  <a:gd name="T67" fmla="*/ 96 h 149"/>
                  <a:gd name="T68" fmla="*/ 163 w 225"/>
                  <a:gd name="T69" fmla="*/ 101 h 149"/>
                  <a:gd name="T70" fmla="*/ 148 w 225"/>
                  <a:gd name="T71" fmla="*/ 106 h 149"/>
                  <a:gd name="T72" fmla="*/ 139 w 225"/>
                  <a:gd name="T73" fmla="*/ 112 h 149"/>
                  <a:gd name="T74" fmla="*/ 129 w 225"/>
                  <a:gd name="T75" fmla="*/ 117 h 149"/>
                  <a:gd name="T76" fmla="*/ 115 w 225"/>
                  <a:gd name="T77" fmla="*/ 122 h 149"/>
                  <a:gd name="T78" fmla="*/ 105 w 225"/>
                  <a:gd name="T79" fmla="*/ 128 h 149"/>
                  <a:gd name="T80" fmla="*/ 96 w 225"/>
                  <a:gd name="T81" fmla="*/ 133 h 149"/>
                  <a:gd name="T82" fmla="*/ 81 w 225"/>
                  <a:gd name="T83" fmla="*/ 133 h 149"/>
                  <a:gd name="T84" fmla="*/ 72 w 225"/>
                  <a:gd name="T85" fmla="*/ 138 h 149"/>
                  <a:gd name="T86" fmla="*/ 62 w 225"/>
                  <a:gd name="T87" fmla="*/ 144 h 149"/>
                  <a:gd name="T88" fmla="*/ 48 w 225"/>
                  <a:gd name="T89" fmla="*/ 149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25" h="149">
                    <a:moveTo>
                      <a:pt x="48" y="149"/>
                    </a:moveTo>
                    <a:lnTo>
                      <a:pt x="43" y="149"/>
                    </a:lnTo>
                    <a:lnTo>
                      <a:pt x="38" y="144"/>
                    </a:lnTo>
                    <a:lnTo>
                      <a:pt x="33" y="144"/>
                    </a:lnTo>
                    <a:lnTo>
                      <a:pt x="24" y="144"/>
                    </a:lnTo>
                    <a:lnTo>
                      <a:pt x="19" y="144"/>
                    </a:lnTo>
                    <a:lnTo>
                      <a:pt x="14" y="138"/>
                    </a:lnTo>
                    <a:lnTo>
                      <a:pt x="10" y="138"/>
                    </a:lnTo>
                    <a:lnTo>
                      <a:pt x="5" y="133"/>
                    </a:lnTo>
                    <a:lnTo>
                      <a:pt x="0" y="101"/>
                    </a:lnTo>
                    <a:lnTo>
                      <a:pt x="5" y="69"/>
                    </a:lnTo>
                    <a:lnTo>
                      <a:pt x="5" y="37"/>
                    </a:lnTo>
                    <a:lnTo>
                      <a:pt x="5" y="0"/>
                    </a:lnTo>
                    <a:lnTo>
                      <a:pt x="19" y="5"/>
                    </a:lnTo>
                    <a:lnTo>
                      <a:pt x="33" y="10"/>
                    </a:lnTo>
                    <a:lnTo>
                      <a:pt x="43" y="16"/>
                    </a:lnTo>
                    <a:lnTo>
                      <a:pt x="57" y="16"/>
                    </a:lnTo>
                    <a:lnTo>
                      <a:pt x="72" y="21"/>
                    </a:lnTo>
                    <a:lnTo>
                      <a:pt x="86" y="26"/>
                    </a:lnTo>
                    <a:lnTo>
                      <a:pt x="101" y="32"/>
                    </a:lnTo>
                    <a:lnTo>
                      <a:pt x="115" y="37"/>
                    </a:lnTo>
                    <a:lnTo>
                      <a:pt x="129" y="42"/>
                    </a:lnTo>
                    <a:lnTo>
                      <a:pt x="144" y="48"/>
                    </a:lnTo>
                    <a:lnTo>
                      <a:pt x="153" y="53"/>
                    </a:lnTo>
                    <a:lnTo>
                      <a:pt x="168" y="53"/>
                    </a:lnTo>
                    <a:lnTo>
                      <a:pt x="182" y="58"/>
                    </a:lnTo>
                    <a:lnTo>
                      <a:pt x="196" y="64"/>
                    </a:lnTo>
                    <a:lnTo>
                      <a:pt x="211" y="69"/>
                    </a:lnTo>
                    <a:lnTo>
                      <a:pt x="225" y="74"/>
                    </a:lnTo>
                    <a:lnTo>
                      <a:pt x="216" y="74"/>
                    </a:lnTo>
                    <a:lnTo>
                      <a:pt x="201" y="80"/>
                    </a:lnTo>
                    <a:lnTo>
                      <a:pt x="192" y="85"/>
                    </a:lnTo>
                    <a:lnTo>
                      <a:pt x="182" y="90"/>
                    </a:lnTo>
                    <a:lnTo>
                      <a:pt x="172" y="96"/>
                    </a:lnTo>
                    <a:lnTo>
                      <a:pt x="163" y="101"/>
                    </a:lnTo>
                    <a:lnTo>
                      <a:pt x="148" y="106"/>
                    </a:lnTo>
                    <a:lnTo>
                      <a:pt x="139" y="112"/>
                    </a:lnTo>
                    <a:lnTo>
                      <a:pt x="129" y="117"/>
                    </a:lnTo>
                    <a:lnTo>
                      <a:pt x="115" y="122"/>
                    </a:lnTo>
                    <a:lnTo>
                      <a:pt x="105" y="128"/>
                    </a:lnTo>
                    <a:lnTo>
                      <a:pt x="96" y="133"/>
                    </a:lnTo>
                    <a:lnTo>
                      <a:pt x="81" y="133"/>
                    </a:lnTo>
                    <a:lnTo>
                      <a:pt x="72" y="138"/>
                    </a:lnTo>
                    <a:lnTo>
                      <a:pt x="62" y="144"/>
                    </a:lnTo>
                    <a:lnTo>
                      <a:pt x="48" y="14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3" name="Freeform 84">
                <a:extLst>
                  <a:ext uri="{FF2B5EF4-FFF2-40B4-BE49-F238E27FC236}">
                    <a16:creationId xmlns:a16="http://schemas.microsoft.com/office/drawing/2014/main" id="{1877FEB8-C0BA-A80C-4EA4-771F6AE8268F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2208" y="2330"/>
                <a:ext cx="297" cy="112"/>
              </a:xfrm>
              <a:custGeom>
                <a:avLst/>
                <a:gdLst>
                  <a:gd name="T0" fmla="*/ 158 w 297"/>
                  <a:gd name="T1" fmla="*/ 112 h 112"/>
                  <a:gd name="T2" fmla="*/ 144 w 297"/>
                  <a:gd name="T3" fmla="*/ 107 h 112"/>
                  <a:gd name="T4" fmla="*/ 130 w 297"/>
                  <a:gd name="T5" fmla="*/ 107 h 112"/>
                  <a:gd name="T6" fmla="*/ 115 w 297"/>
                  <a:gd name="T7" fmla="*/ 102 h 112"/>
                  <a:gd name="T8" fmla="*/ 106 w 297"/>
                  <a:gd name="T9" fmla="*/ 102 h 112"/>
                  <a:gd name="T10" fmla="*/ 96 w 297"/>
                  <a:gd name="T11" fmla="*/ 102 h 112"/>
                  <a:gd name="T12" fmla="*/ 82 w 297"/>
                  <a:gd name="T13" fmla="*/ 96 h 112"/>
                  <a:gd name="T14" fmla="*/ 58 w 297"/>
                  <a:gd name="T15" fmla="*/ 91 h 112"/>
                  <a:gd name="T16" fmla="*/ 34 w 297"/>
                  <a:gd name="T17" fmla="*/ 86 h 112"/>
                  <a:gd name="T18" fmla="*/ 10 w 297"/>
                  <a:gd name="T19" fmla="*/ 80 h 112"/>
                  <a:gd name="T20" fmla="*/ 10 w 297"/>
                  <a:gd name="T21" fmla="*/ 75 h 112"/>
                  <a:gd name="T22" fmla="*/ 34 w 297"/>
                  <a:gd name="T23" fmla="*/ 64 h 112"/>
                  <a:gd name="T24" fmla="*/ 53 w 297"/>
                  <a:gd name="T25" fmla="*/ 54 h 112"/>
                  <a:gd name="T26" fmla="*/ 77 w 297"/>
                  <a:gd name="T27" fmla="*/ 43 h 112"/>
                  <a:gd name="T28" fmla="*/ 96 w 297"/>
                  <a:gd name="T29" fmla="*/ 32 h 112"/>
                  <a:gd name="T30" fmla="*/ 120 w 297"/>
                  <a:gd name="T31" fmla="*/ 27 h 112"/>
                  <a:gd name="T32" fmla="*/ 139 w 297"/>
                  <a:gd name="T33" fmla="*/ 16 h 112"/>
                  <a:gd name="T34" fmla="*/ 163 w 297"/>
                  <a:gd name="T35" fmla="*/ 6 h 112"/>
                  <a:gd name="T36" fmla="*/ 182 w 297"/>
                  <a:gd name="T37" fmla="*/ 6 h 112"/>
                  <a:gd name="T38" fmla="*/ 197 w 297"/>
                  <a:gd name="T39" fmla="*/ 11 h 112"/>
                  <a:gd name="T40" fmla="*/ 211 w 297"/>
                  <a:gd name="T41" fmla="*/ 16 h 112"/>
                  <a:gd name="T42" fmla="*/ 225 w 297"/>
                  <a:gd name="T43" fmla="*/ 22 h 112"/>
                  <a:gd name="T44" fmla="*/ 240 w 297"/>
                  <a:gd name="T45" fmla="*/ 27 h 112"/>
                  <a:gd name="T46" fmla="*/ 259 w 297"/>
                  <a:gd name="T47" fmla="*/ 32 h 112"/>
                  <a:gd name="T48" fmla="*/ 273 w 297"/>
                  <a:gd name="T49" fmla="*/ 38 h 112"/>
                  <a:gd name="T50" fmla="*/ 288 w 297"/>
                  <a:gd name="T51" fmla="*/ 38 h 112"/>
                  <a:gd name="T52" fmla="*/ 288 w 297"/>
                  <a:gd name="T53" fmla="*/ 43 h 112"/>
                  <a:gd name="T54" fmla="*/ 273 w 297"/>
                  <a:gd name="T55" fmla="*/ 54 h 112"/>
                  <a:gd name="T56" fmla="*/ 254 w 297"/>
                  <a:gd name="T57" fmla="*/ 64 h 112"/>
                  <a:gd name="T58" fmla="*/ 240 w 297"/>
                  <a:gd name="T59" fmla="*/ 75 h 112"/>
                  <a:gd name="T60" fmla="*/ 221 w 297"/>
                  <a:gd name="T61" fmla="*/ 80 h 112"/>
                  <a:gd name="T62" fmla="*/ 206 w 297"/>
                  <a:gd name="T63" fmla="*/ 91 h 112"/>
                  <a:gd name="T64" fmla="*/ 187 w 297"/>
                  <a:gd name="T65" fmla="*/ 96 h 112"/>
                  <a:gd name="T66" fmla="*/ 173 w 297"/>
                  <a:gd name="T67" fmla="*/ 107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97" h="112">
                    <a:moveTo>
                      <a:pt x="163" y="107"/>
                    </a:moveTo>
                    <a:lnTo>
                      <a:pt x="158" y="112"/>
                    </a:lnTo>
                    <a:lnTo>
                      <a:pt x="149" y="112"/>
                    </a:lnTo>
                    <a:lnTo>
                      <a:pt x="144" y="107"/>
                    </a:lnTo>
                    <a:lnTo>
                      <a:pt x="134" y="107"/>
                    </a:lnTo>
                    <a:lnTo>
                      <a:pt x="130" y="107"/>
                    </a:lnTo>
                    <a:lnTo>
                      <a:pt x="125" y="102"/>
                    </a:lnTo>
                    <a:lnTo>
                      <a:pt x="115" y="102"/>
                    </a:lnTo>
                    <a:lnTo>
                      <a:pt x="110" y="102"/>
                    </a:lnTo>
                    <a:lnTo>
                      <a:pt x="106" y="102"/>
                    </a:lnTo>
                    <a:lnTo>
                      <a:pt x="101" y="102"/>
                    </a:lnTo>
                    <a:lnTo>
                      <a:pt x="96" y="102"/>
                    </a:lnTo>
                    <a:lnTo>
                      <a:pt x="91" y="96"/>
                    </a:lnTo>
                    <a:lnTo>
                      <a:pt x="82" y="96"/>
                    </a:lnTo>
                    <a:lnTo>
                      <a:pt x="67" y="96"/>
                    </a:lnTo>
                    <a:lnTo>
                      <a:pt x="58" y="91"/>
                    </a:lnTo>
                    <a:lnTo>
                      <a:pt x="48" y="86"/>
                    </a:lnTo>
                    <a:lnTo>
                      <a:pt x="34" y="86"/>
                    </a:lnTo>
                    <a:lnTo>
                      <a:pt x="24" y="80"/>
                    </a:lnTo>
                    <a:lnTo>
                      <a:pt x="10" y="80"/>
                    </a:lnTo>
                    <a:lnTo>
                      <a:pt x="0" y="75"/>
                    </a:lnTo>
                    <a:lnTo>
                      <a:pt x="10" y="75"/>
                    </a:lnTo>
                    <a:lnTo>
                      <a:pt x="24" y="70"/>
                    </a:lnTo>
                    <a:lnTo>
                      <a:pt x="34" y="64"/>
                    </a:lnTo>
                    <a:lnTo>
                      <a:pt x="43" y="59"/>
                    </a:lnTo>
                    <a:lnTo>
                      <a:pt x="53" y="54"/>
                    </a:lnTo>
                    <a:lnTo>
                      <a:pt x="63" y="48"/>
                    </a:lnTo>
                    <a:lnTo>
                      <a:pt x="77" y="43"/>
                    </a:lnTo>
                    <a:lnTo>
                      <a:pt x="86" y="38"/>
                    </a:lnTo>
                    <a:lnTo>
                      <a:pt x="96" y="32"/>
                    </a:lnTo>
                    <a:lnTo>
                      <a:pt x="106" y="27"/>
                    </a:lnTo>
                    <a:lnTo>
                      <a:pt x="120" y="27"/>
                    </a:lnTo>
                    <a:lnTo>
                      <a:pt x="130" y="22"/>
                    </a:lnTo>
                    <a:lnTo>
                      <a:pt x="139" y="16"/>
                    </a:lnTo>
                    <a:lnTo>
                      <a:pt x="149" y="11"/>
                    </a:lnTo>
                    <a:lnTo>
                      <a:pt x="163" y="6"/>
                    </a:lnTo>
                    <a:lnTo>
                      <a:pt x="173" y="0"/>
                    </a:lnTo>
                    <a:lnTo>
                      <a:pt x="182" y="6"/>
                    </a:lnTo>
                    <a:lnTo>
                      <a:pt x="187" y="6"/>
                    </a:lnTo>
                    <a:lnTo>
                      <a:pt x="197" y="11"/>
                    </a:lnTo>
                    <a:lnTo>
                      <a:pt x="202" y="11"/>
                    </a:lnTo>
                    <a:lnTo>
                      <a:pt x="211" y="16"/>
                    </a:lnTo>
                    <a:lnTo>
                      <a:pt x="221" y="22"/>
                    </a:lnTo>
                    <a:lnTo>
                      <a:pt x="225" y="22"/>
                    </a:lnTo>
                    <a:lnTo>
                      <a:pt x="235" y="22"/>
                    </a:lnTo>
                    <a:lnTo>
                      <a:pt x="240" y="27"/>
                    </a:lnTo>
                    <a:lnTo>
                      <a:pt x="249" y="27"/>
                    </a:lnTo>
                    <a:lnTo>
                      <a:pt x="259" y="32"/>
                    </a:lnTo>
                    <a:lnTo>
                      <a:pt x="264" y="32"/>
                    </a:lnTo>
                    <a:lnTo>
                      <a:pt x="273" y="38"/>
                    </a:lnTo>
                    <a:lnTo>
                      <a:pt x="278" y="38"/>
                    </a:lnTo>
                    <a:lnTo>
                      <a:pt x="288" y="38"/>
                    </a:lnTo>
                    <a:lnTo>
                      <a:pt x="297" y="43"/>
                    </a:lnTo>
                    <a:lnTo>
                      <a:pt x="288" y="43"/>
                    </a:lnTo>
                    <a:lnTo>
                      <a:pt x="278" y="48"/>
                    </a:lnTo>
                    <a:lnTo>
                      <a:pt x="273" y="54"/>
                    </a:lnTo>
                    <a:lnTo>
                      <a:pt x="264" y="59"/>
                    </a:lnTo>
                    <a:lnTo>
                      <a:pt x="254" y="64"/>
                    </a:lnTo>
                    <a:lnTo>
                      <a:pt x="245" y="70"/>
                    </a:lnTo>
                    <a:lnTo>
                      <a:pt x="240" y="75"/>
                    </a:lnTo>
                    <a:lnTo>
                      <a:pt x="230" y="75"/>
                    </a:lnTo>
                    <a:lnTo>
                      <a:pt x="221" y="80"/>
                    </a:lnTo>
                    <a:lnTo>
                      <a:pt x="216" y="86"/>
                    </a:lnTo>
                    <a:lnTo>
                      <a:pt x="206" y="91"/>
                    </a:lnTo>
                    <a:lnTo>
                      <a:pt x="197" y="96"/>
                    </a:lnTo>
                    <a:lnTo>
                      <a:pt x="187" y="96"/>
                    </a:lnTo>
                    <a:lnTo>
                      <a:pt x="182" y="102"/>
                    </a:lnTo>
                    <a:lnTo>
                      <a:pt x="173" y="107"/>
                    </a:lnTo>
                    <a:lnTo>
                      <a:pt x="163" y="10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4" name="Freeform 85">
                <a:extLst>
                  <a:ext uri="{FF2B5EF4-FFF2-40B4-BE49-F238E27FC236}">
                    <a16:creationId xmlns:a16="http://schemas.microsoft.com/office/drawing/2014/main" id="{E2AB4A38-8408-245B-92A6-9AE1C2950DBA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2376" y="2373"/>
                <a:ext cx="551" cy="176"/>
              </a:xfrm>
              <a:custGeom>
                <a:avLst/>
                <a:gdLst>
                  <a:gd name="T0" fmla="*/ 10 w 551"/>
                  <a:gd name="T1" fmla="*/ 69 h 176"/>
                  <a:gd name="T2" fmla="*/ 24 w 551"/>
                  <a:gd name="T3" fmla="*/ 59 h 176"/>
                  <a:gd name="T4" fmla="*/ 43 w 551"/>
                  <a:gd name="T5" fmla="*/ 53 h 176"/>
                  <a:gd name="T6" fmla="*/ 62 w 551"/>
                  <a:gd name="T7" fmla="*/ 43 h 176"/>
                  <a:gd name="T8" fmla="*/ 77 w 551"/>
                  <a:gd name="T9" fmla="*/ 32 h 176"/>
                  <a:gd name="T10" fmla="*/ 96 w 551"/>
                  <a:gd name="T11" fmla="*/ 27 h 176"/>
                  <a:gd name="T12" fmla="*/ 110 w 551"/>
                  <a:gd name="T13" fmla="*/ 16 h 176"/>
                  <a:gd name="T14" fmla="*/ 129 w 551"/>
                  <a:gd name="T15" fmla="*/ 5 h 176"/>
                  <a:gd name="T16" fmla="*/ 163 w 551"/>
                  <a:gd name="T17" fmla="*/ 11 h 176"/>
                  <a:gd name="T18" fmla="*/ 216 w 551"/>
                  <a:gd name="T19" fmla="*/ 27 h 176"/>
                  <a:gd name="T20" fmla="*/ 268 w 551"/>
                  <a:gd name="T21" fmla="*/ 37 h 176"/>
                  <a:gd name="T22" fmla="*/ 321 w 551"/>
                  <a:gd name="T23" fmla="*/ 53 h 176"/>
                  <a:gd name="T24" fmla="*/ 369 w 551"/>
                  <a:gd name="T25" fmla="*/ 69 h 176"/>
                  <a:gd name="T26" fmla="*/ 422 w 551"/>
                  <a:gd name="T27" fmla="*/ 80 h 176"/>
                  <a:gd name="T28" fmla="*/ 474 w 551"/>
                  <a:gd name="T29" fmla="*/ 96 h 176"/>
                  <a:gd name="T30" fmla="*/ 527 w 551"/>
                  <a:gd name="T31" fmla="*/ 107 h 176"/>
                  <a:gd name="T32" fmla="*/ 546 w 551"/>
                  <a:gd name="T33" fmla="*/ 123 h 176"/>
                  <a:gd name="T34" fmla="*/ 527 w 551"/>
                  <a:gd name="T35" fmla="*/ 128 h 176"/>
                  <a:gd name="T36" fmla="*/ 513 w 551"/>
                  <a:gd name="T37" fmla="*/ 139 h 176"/>
                  <a:gd name="T38" fmla="*/ 498 w 551"/>
                  <a:gd name="T39" fmla="*/ 144 h 176"/>
                  <a:gd name="T40" fmla="*/ 484 w 551"/>
                  <a:gd name="T41" fmla="*/ 149 h 176"/>
                  <a:gd name="T42" fmla="*/ 470 w 551"/>
                  <a:gd name="T43" fmla="*/ 160 h 176"/>
                  <a:gd name="T44" fmla="*/ 455 w 551"/>
                  <a:gd name="T45" fmla="*/ 165 h 176"/>
                  <a:gd name="T46" fmla="*/ 436 w 551"/>
                  <a:gd name="T47" fmla="*/ 171 h 176"/>
                  <a:gd name="T48" fmla="*/ 402 w 551"/>
                  <a:gd name="T49" fmla="*/ 165 h 176"/>
                  <a:gd name="T50" fmla="*/ 350 w 551"/>
                  <a:gd name="T51" fmla="*/ 155 h 176"/>
                  <a:gd name="T52" fmla="*/ 297 w 551"/>
                  <a:gd name="T53" fmla="*/ 144 h 176"/>
                  <a:gd name="T54" fmla="*/ 244 w 551"/>
                  <a:gd name="T55" fmla="*/ 128 h 176"/>
                  <a:gd name="T56" fmla="*/ 187 w 551"/>
                  <a:gd name="T57" fmla="*/ 117 h 176"/>
                  <a:gd name="T58" fmla="*/ 134 w 551"/>
                  <a:gd name="T59" fmla="*/ 101 h 176"/>
                  <a:gd name="T60" fmla="*/ 81 w 551"/>
                  <a:gd name="T61" fmla="*/ 91 h 176"/>
                  <a:gd name="T62" fmla="*/ 24 w 551"/>
                  <a:gd name="T63" fmla="*/ 75 h 1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551" h="176">
                    <a:moveTo>
                      <a:pt x="0" y="69"/>
                    </a:moveTo>
                    <a:lnTo>
                      <a:pt x="10" y="69"/>
                    </a:lnTo>
                    <a:lnTo>
                      <a:pt x="19" y="64"/>
                    </a:lnTo>
                    <a:lnTo>
                      <a:pt x="24" y="59"/>
                    </a:lnTo>
                    <a:lnTo>
                      <a:pt x="34" y="53"/>
                    </a:lnTo>
                    <a:lnTo>
                      <a:pt x="43" y="53"/>
                    </a:lnTo>
                    <a:lnTo>
                      <a:pt x="53" y="48"/>
                    </a:lnTo>
                    <a:lnTo>
                      <a:pt x="62" y="43"/>
                    </a:lnTo>
                    <a:lnTo>
                      <a:pt x="67" y="37"/>
                    </a:lnTo>
                    <a:lnTo>
                      <a:pt x="77" y="32"/>
                    </a:lnTo>
                    <a:lnTo>
                      <a:pt x="86" y="32"/>
                    </a:lnTo>
                    <a:lnTo>
                      <a:pt x="96" y="27"/>
                    </a:lnTo>
                    <a:lnTo>
                      <a:pt x="105" y="21"/>
                    </a:lnTo>
                    <a:lnTo>
                      <a:pt x="110" y="16"/>
                    </a:lnTo>
                    <a:lnTo>
                      <a:pt x="120" y="11"/>
                    </a:lnTo>
                    <a:lnTo>
                      <a:pt x="129" y="5"/>
                    </a:lnTo>
                    <a:lnTo>
                      <a:pt x="139" y="0"/>
                    </a:lnTo>
                    <a:lnTo>
                      <a:pt x="163" y="11"/>
                    </a:lnTo>
                    <a:lnTo>
                      <a:pt x="187" y="16"/>
                    </a:lnTo>
                    <a:lnTo>
                      <a:pt x="216" y="27"/>
                    </a:lnTo>
                    <a:lnTo>
                      <a:pt x="240" y="32"/>
                    </a:lnTo>
                    <a:lnTo>
                      <a:pt x="268" y="37"/>
                    </a:lnTo>
                    <a:lnTo>
                      <a:pt x="292" y="48"/>
                    </a:lnTo>
                    <a:lnTo>
                      <a:pt x="321" y="53"/>
                    </a:lnTo>
                    <a:lnTo>
                      <a:pt x="345" y="59"/>
                    </a:lnTo>
                    <a:lnTo>
                      <a:pt x="369" y="69"/>
                    </a:lnTo>
                    <a:lnTo>
                      <a:pt x="398" y="75"/>
                    </a:lnTo>
                    <a:lnTo>
                      <a:pt x="422" y="80"/>
                    </a:lnTo>
                    <a:lnTo>
                      <a:pt x="450" y="91"/>
                    </a:lnTo>
                    <a:lnTo>
                      <a:pt x="474" y="96"/>
                    </a:lnTo>
                    <a:lnTo>
                      <a:pt x="498" y="101"/>
                    </a:lnTo>
                    <a:lnTo>
                      <a:pt x="527" y="107"/>
                    </a:lnTo>
                    <a:lnTo>
                      <a:pt x="551" y="117"/>
                    </a:lnTo>
                    <a:lnTo>
                      <a:pt x="546" y="123"/>
                    </a:lnTo>
                    <a:lnTo>
                      <a:pt x="537" y="123"/>
                    </a:lnTo>
                    <a:lnTo>
                      <a:pt x="527" y="128"/>
                    </a:lnTo>
                    <a:lnTo>
                      <a:pt x="522" y="133"/>
                    </a:lnTo>
                    <a:lnTo>
                      <a:pt x="513" y="139"/>
                    </a:lnTo>
                    <a:lnTo>
                      <a:pt x="508" y="139"/>
                    </a:lnTo>
                    <a:lnTo>
                      <a:pt x="498" y="144"/>
                    </a:lnTo>
                    <a:lnTo>
                      <a:pt x="494" y="149"/>
                    </a:lnTo>
                    <a:lnTo>
                      <a:pt x="484" y="149"/>
                    </a:lnTo>
                    <a:lnTo>
                      <a:pt x="474" y="155"/>
                    </a:lnTo>
                    <a:lnTo>
                      <a:pt x="470" y="160"/>
                    </a:lnTo>
                    <a:lnTo>
                      <a:pt x="460" y="160"/>
                    </a:lnTo>
                    <a:lnTo>
                      <a:pt x="455" y="165"/>
                    </a:lnTo>
                    <a:lnTo>
                      <a:pt x="446" y="165"/>
                    </a:lnTo>
                    <a:lnTo>
                      <a:pt x="436" y="171"/>
                    </a:lnTo>
                    <a:lnTo>
                      <a:pt x="431" y="176"/>
                    </a:lnTo>
                    <a:lnTo>
                      <a:pt x="402" y="165"/>
                    </a:lnTo>
                    <a:lnTo>
                      <a:pt x="379" y="160"/>
                    </a:lnTo>
                    <a:lnTo>
                      <a:pt x="350" y="155"/>
                    </a:lnTo>
                    <a:lnTo>
                      <a:pt x="326" y="149"/>
                    </a:lnTo>
                    <a:lnTo>
                      <a:pt x="297" y="144"/>
                    </a:lnTo>
                    <a:lnTo>
                      <a:pt x="268" y="139"/>
                    </a:lnTo>
                    <a:lnTo>
                      <a:pt x="244" y="128"/>
                    </a:lnTo>
                    <a:lnTo>
                      <a:pt x="216" y="123"/>
                    </a:lnTo>
                    <a:lnTo>
                      <a:pt x="187" y="117"/>
                    </a:lnTo>
                    <a:lnTo>
                      <a:pt x="163" y="112"/>
                    </a:lnTo>
                    <a:lnTo>
                      <a:pt x="134" y="101"/>
                    </a:lnTo>
                    <a:lnTo>
                      <a:pt x="105" y="96"/>
                    </a:lnTo>
                    <a:lnTo>
                      <a:pt x="81" y="91"/>
                    </a:lnTo>
                    <a:lnTo>
                      <a:pt x="53" y="85"/>
                    </a:lnTo>
                    <a:lnTo>
                      <a:pt x="24" y="75"/>
                    </a:lnTo>
                    <a:lnTo>
                      <a:pt x="0" y="69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5" name="Freeform 86">
                <a:extLst>
                  <a:ext uri="{FF2B5EF4-FFF2-40B4-BE49-F238E27FC236}">
                    <a16:creationId xmlns:a16="http://schemas.microsoft.com/office/drawing/2014/main" id="{65FCF51A-E35E-BCDE-B0CD-D08178F9CEAA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2050" y="2384"/>
                <a:ext cx="53" cy="21"/>
              </a:xfrm>
              <a:custGeom>
                <a:avLst/>
                <a:gdLst>
                  <a:gd name="T0" fmla="*/ 53 w 53"/>
                  <a:gd name="T1" fmla="*/ 16 h 21"/>
                  <a:gd name="T2" fmla="*/ 43 w 53"/>
                  <a:gd name="T3" fmla="*/ 21 h 21"/>
                  <a:gd name="T4" fmla="*/ 38 w 53"/>
                  <a:gd name="T5" fmla="*/ 16 h 21"/>
                  <a:gd name="T6" fmla="*/ 34 w 53"/>
                  <a:gd name="T7" fmla="*/ 16 h 21"/>
                  <a:gd name="T8" fmla="*/ 29 w 53"/>
                  <a:gd name="T9" fmla="*/ 16 h 21"/>
                  <a:gd name="T10" fmla="*/ 19 w 53"/>
                  <a:gd name="T11" fmla="*/ 10 h 21"/>
                  <a:gd name="T12" fmla="*/ 14 w 53"/>
                  <a:gd name="T13" fmla="*/ 10 h 21"/>
                  <a:gd name="T14" fmla="*/ 10 w 53"/>
                  <a:gd name="T15" fmla="*/ 5 h 21"/>
                  <a:gd name="T16" fmla="*/ 0 w 53"/>
                  <a:gd name="T17" fmla="*/ 5 h 21"/>
                  <a:gd name="T18" fmla="*/ 5 w 53"/>
                  <a:gd name="T19" fmla="*/ 0 h 21"/>
                  <a:gd name="T20" fmla="*/ 10 w 53"/>
                  <a:gd name="T21" fmla="*/ 0 h 21"/>
                  <a:gd name="T22" fmla="*/ 14 w 53"/>
                  <a:gd name="T23" fmla="*/ 0 h 21"/>
                  <a:gd name="T24" fmla="*/ 19 w 53"/>
                  <a:gd name="T25" fmla="*/ 0 h 21"/>
                  <a:gd name="T26" fmla="*/ 24 w 53"/>
                  <a:gd name="T27" fmla="*/ 0 h 21"/>
                  <a:gd name="T28" fmla="*/ 29 w 53"/>
                  <a:gd name="T29" fmla="*/ 0 h 21"/>
                  <a:gd name="T30" fmla="*/ 34 w 53"/>
                  <a:gd name="T31" fmla="*/ 0 h 21"/>
                  <a:gd name="T32" fmla="*/ 38 w 53"/>
                  <a:gd name="T33" fmla="*/ 5 h 21"/>
                  <a:gd name="T34" fmla="*/ 43 w 53"/>
                  <a:gd name="T35" fmla="*/ 5 h 21"/>
                  <a:gd name="T36" fmla="*/ 48 w 53"/>
                  <a:gd name="T37" fmla="*/ 5 h 21"/>
                  <a:gd name="T38" fmla="*/ 53 w 53"/>
                  <a:gd name="T39" fmla="*/ 10 h 21"/>
                  <a:gd name="T40" fmla="*/ 53 w 53"/>
                  <a:gd name="T41" fmla="*/ 16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53" h="21">
                    <a:moveTo>
                      <a:pt x="53" y="16"/>
                    </a:moveTo>
                    <a:lnTo>
                      <a:pt x="43" y="21"/>
                    </a:lnTo>
                    <a:lnTo>
                      <a:pt x="38" y="16"/>
                    </a:lnTo>
                    <a:lnTo>
                      <a:pt x="34" y="16"/>
                    </a:lnTo>
                    <a:lnTo>
                      <a:pt x="29" y="16"/>
                    </a:lnTo>
                    <a:lnTo>
                      <a:pt x="19" y="10"/>
                    </a:lnTo>
                    <a:lnTo>
                      <a:pt x="14" y="10"/>
                    </a:lnTo>
                    <a:lnTo>
                      <a:pt x="10" y="5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5"/>
                    </a:lnTo>
                    <a:lnTo>
                      <a:pt x="43" y="5"/>
                    </a:lnTo>
                    <a:lnTo>
                      <a:pt x="48" y="5"/>
                    </a:lnTo>
                    <a:lnTo>
                      <a:pt x="53" y="10"/>
                    </a:lnTo>
                    <a:lnTo>
                      <a:pt x="53" y="1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6" name="Freeform 87">
                <a:extLst>
                  <a:ext uri="{FF2B5EF4-FFF2-40B4-BE49-F238E27FC236}">
                    <a16:creationId xmlns:a16="http://schemas.microsoft.com/office/drawing/2014/main" id="{60304721-88A4-44DB-A8C9-BCA1C4188D62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2151" y="2405"/>
                <a:ext cx="910" cy="219"/>
              </a:xfrm>
              <a:custGeom>
                <a:avLst/>
                <a:gdLst>
                  <a:gd name="T0" fmla="*/ 910 w 910"/>
                  <a:gd name="T1" fmla="*/ 219 h 219"/>
                  <a:gd name="T2" fmla="*/ 853 w 910"/>
                  <a:gd name="T3" fmla="*/ 208 h 219"/>
                  <a:gd name="T4" fmla="*/ 795 w 910"/>
                  <a:gd name="T5" fmla="*/ 197 h 219"/>
                  <a:gd name="T6" fmla="*/ 743 w 910"/>
                  <a:gd name="T7" fmla="*/ 181 h 219"/>
                  <a:gd name="T8" fmla="*/ 685 w 910"/>
                  <a:gd name="T9" fmla="*/ 171 h 219"/>
                  <a:gd name="T10" fmla="*/ 627 w 910"/>
                  <a:gd name="T11" fmla="*/ 160 h 219"/>
                  <a:gd name="T12" fmla="*/ 570 w 910"/>
                  <a:gd name="T13" fmla="*/ 144 h 219"/>
                  <a:gd name="T14" fmla="*/ 512 w 910"/>
                  <a:gd name="T15" fmla="*/ 128 h 219"/>
                  <a:gd name="T16" fmla="*/ 455 w 910"/>
                  <a:gd name="T17" fmla="*/ 117 h 219"/>
                  <a:gd name="T18" fmla="*/ 402 w 910"/>
                  <a:gd name="T19" fmla="*/ 101 h 219"/>
                  <a:gd name="T20" fmla="*/ 345 w 910"/>
                  <a:gd name="T21" fmla="*/ 85 h 219"/>
                  <a:gd name="T22" fmla="*/ 287 w 910"/>
                  <a:gd name="T23" fmla="*/ 75 h 219"/>
                  <a:gd name="T24" fmla="*/ 230 w 910"/>
                  <a:gd name="T25" fmla="*/ 59 h 219"/>
                  <a:gd name="T26" fmla="*/ 172 w 910"/>
                  <a:gd name="T27" fmla="*/ 48 h 219"/>
                  <a:gd name="T28" fmla="*/ 115 w 910"/>
                  <a:gd name="T29" fmla="*/ 32 h 219"/>
                  <a:gd name="T30" fmla="*/ 57 w 910"/>
                  <a:gd name="T31" fmla="*/ 21 h 219"/>
                  <a:gd name="T32" fmla="*/ 0 w 910"/>
                  <a:gd name="T33" fmla="*/ 11 h 219"/>
                  <a:gd name="T34" fmla="*/ 24 w 910"/>
                  <a:gd name="T35" fmla="*/ 5 h 219"/>
                  <a:gd name="T36" fmla="*/ 81 w 910"/>
                  <a:gd name="T37" fmla="*/ 16 h 219"/>
                  <a:gd name="T38" fmla="*/ 134 w 910"/>
                  <a:gd name="T39" fmla="*/ 27 h 219"/>
                  <a:gd name="T40" fmla="*/ 191 w 910"/>
                  <a:gd name="T41" fmla="*/ 43 h 219"/>
                  <a:gd name="T42" fmla="*/ 249 w 910"/>
                  <a:gd name="T43" fmla="*/ 53 h 219"/>
                  <a:gd name="T44" fmla="*/ 306 w 910"/>
                  <a:gd name="T45" fmla="*/ 69 h 219"/>
                  <a:gd name="T46" fmla="*/ 364 w 910"/>
                  <a:gd name="T47" fmla="*/ 80 h 219"/>
                  <a:gd name="T48" fmla="*/ 421 w 910"/>
                  <a:gd name="T49" fmla="*/ 96 h 219"/>
                  <a:gd name="T50" fmla="*/ 479 w 910"/>
                  <a:gd name="T51" fmla="*/ 107 h 219"/>
                  <a:gd name="T52" fmla="*/ 541 w 910"/>
                  <a:gd name="T53" fmla="*/ 123 h 219"/>
                  <a:gd name="T54" fmla="*/ 599 w 910"/>
                  <a:gd name="T55" fmla="*/ 139 h 219"/>
                  <a:gd name="T56" fmla="*/ 656 w 910"/>
                  <a:gd name="T57" fmla="*/ 149 h 219"/>
                  <a:gd name="T58" fmla="*/ 714 w 910"/>
                  <a:gd name="T59" fmla="*/ 165 h 219"/>
                  <a:gd name="T60" fmla="*/ 771 w 910"/>
                  <a:gd name="T61" fmla="*/ 176 h 219"/>
                  <a:gd name="T62" fmla="*/ 824 w 910"/>
                  <a:gd name="T63" fmla="*/ 192 h 219"/>
                  <a:gd name="T64" fmla="*/ 881 w 910"/>
                  <a:gd name="T65" fmla="*/ 208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910" h="219">
                    <a:moveTo>
                      <a:pt x="910" y="213"/>
                    </a:moveTo>
                    <a:lnTo>
                      <a:pt x="910" y="219"/>
                    </a:lnTo>
                    <a:lnTo>
                      <a:pt x="881" y="213"/>
                    </a:lnTo>
                    <a:lnTo>
                      <a:pt x="853" y="208"/>
                    </a:lnTo>
                    <a:lnTo>
                      <a:pt x="824" y="203"/>
                    </a:lnTo>
                    <a:lnTo>
                      <a:pt x="795" y="197"/>
                    </a:lnTo>
                    <a:lnTo>
                      <a:pt x="771" y="192"/>
                    </a:lnTo>
                    <a:lnTo>
                      <a:pt x="743" y="181"/>
                    </a:lnTo>
                    <a:lnTo>
                      <a:pt x="714" y="176"/>
                    </a:lnTo>
                    <a:lnTo>
                      <a:pt x="685" y="171"/>
                    </a:lnTo>
                    <a:lnTo>
                      <a:pt x="656" y="165"/>
                    </a:lnTo>
                    <a:lnTo>
                      <a:pt x="627" y="160"/>
                    </a:lnTo>
                    <a:lnTo>
                      <a:pt x="599" y="149"/>
                    </a:lnTo>
                    <a:lnTo>
                      <a:pt x="570" y="144"/>
                    </a:lnTo>
                    <a:lnTo>
                      <a:pt x="541" y="139"/>
                    </a:lnTo>
                    <a:lnTo>
                      <a:pt x="512" y="128"/>
                    </a:lnTo>
                    <a:lnTo>
                      <a:pt x="484" y="123"/>
                    </a:lnTo>
                    <a:lnTo>
                      <a:pt x="455" y="117"/>
                    </a:lnTo>
                    <a:lnTo>
                      <a:pt x="431" y="107"/>
                    </a:lnTo>
                    <a:lnTo>
                      <a:pt x="402" y="101"/>
                    </a:lnTo>
                    <a:lnTo>
                      <a:pt x="374" y="96"/>
                    </a:lnTo>
                    <a:lnTo>
                      <a:pt x="345" y="85"/>
                    </a:lnTo>
                    <a:lnTo>
                      <a:pt x="316" y="80"/>
                    </a:lnTo>
                    <a:lnTo>
                      <a:pt x="287" y="75"/>
                    </a:lnTo>
                    <a:lnTo>
                      <a:pt x="259" y="69"/>
                    </a:lnTo>
                    <a:lnTo>
                      <a:pt x="230" y="59"/>
                    </a:lnTo>
                    <a:lnTo>
                      <a:pt x="201" y="53"/>
                    </a:lnTo>
                    <a:lnTo>
                      <a:pt x="172" y="48"/>
                    </a:lnTo>
                    <a:lnTo>
                      <a:pt x="143" y="43"/>
                    </a:lnTo>
                    <a:lnTo>
                      <a:pt x="115" y="32"/>
                    </a:lnTo>
                    <a:lnTo>
                      <a:pt x="86" y="27"/>
                    </a:lnTo>
                    <a:lnTo>
                      <a:pt x="57" y="21"/>
                    </a:lnTo>
                    <a:lnTo>
                      <a:pt x="28" y="16"/>
                    </a:lnTo>
                    <a:lnTo>
                      <a:pt x="0" y="11"/>
                    </a:lnTo>
                    <a:lnTo>
                      <a:pt x="0" y="0"/>
                    </a:lnTo>
                    <a:lnTo>
                      <a:pt x="24" y="5"/>
                    </a:lnTo>
                    <a:lnTo>
                      <a:pt x="52" y="11"/>
                    </a:lnTo>
                    <a:lnTo>
                      <a:pt x="81" y="16"/>
                    </a:lnTo>
                    <a:lnTo>
                      <a:pt x="105" y="21"/>
                    </a:lnTo>
                    <a:lnTo>
                      <a:pt x="134" y="27"/>
                    </a:lnTo>
                    <a:lnTo>
                      <a:pt x="163" y="37"/>
                    </a:lnTo>
                    <a:lnTo>
                      <a:pt x="191" y="43"/>
                    </a:lnTo>
                    <a:lnTo>
                      <a:pt x="220" y="48"/>
                    </a:lnTo>
                    <a:lnTo>
                      <a:pt x="249" y="53"/>
                    </a:lnTo>
                    <a:lnTo>
                      <a:pt x="278" y="64"/>
                    </a:lnTo>
                    <a:lnTo>
                      <a:pt x="306" y="69"/>
                    </a:lnTo>
                    <a:lnTo>
                      <a:pt x="335" y="75"/>
                    </a:lnTo>
                    <a:lnTo>
                      <a:pt x="364" y="80"/>
                    </a:lnTo>
                    <a:lnTo>
                      <a:pt x="393" y="91"/>
                    </a:lnTo>
                    <a:lnTo>
                      <a:pt x="421" y="96"/>
                    </a:lnTo>
                    <a:lnTo>
                      <a:pt x="450" y="101"/>
                    </a:lnTo>
                    <a:lnTo>
                      <a:pt x="479" y="107"/>
                    </a:lnTo>
                    <a:lnTo>
                      <a:pt x="508" y="117"/>
                    </a:lnTo>
                    <a:lnTo>
                      <a:pt x="541" y="123"/>
                    </a:lnTo>
                    <a:lnTo>
                      <a:pt x="570" y="128"/>
                    </a:lnTo>
                    <a:lnTo>
                      <a:pt x="599" y="139"/>
                    </a:lnTo>
                    <a:lnTo>
                      <a:pt x="627" y="144"/>
                    </a:lnTo>
                    <a:lnTo>
                      <a:pt x="656" y="149"/>
                    </a:lnTo>
                    <a:lnTo>
                      <a:pt x="685" y="160"/>
                    </a:lnTo>
                    <a:lnTo>
                      <a:pt x="714" y="165"/>
                    </a:lnTo>
                    <a:lnTo>
                      <a:pt x="743" y="171"/>
                    </a:lnTo>
                    <a:lnTo>
                      <a:pt x="771" y="176"/>
                    </a:lnTo>
                    <a:lnTo>
                      <a:pt x="795" y="187"/>
                    </a:lnTo>
                    <a:lnTo>
                      <a:pt x="824" y="192"/>
                    </a:lnTo>
                    <a:lnTo>
                      <a:pt x="853" y="197"/>
                    </a:lnTo>
                    <a:lnTo>
                      <a:pt x="881" y="208"/>
                    </a:lnTo>
                    <a:lnTo>
                      <a:pt x="910" y="213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7" name="Freeform 88">
                <a:extLst>
                  <a:ext uri="{FF2B5EF4-FFF2-40B4-BE49-F238E27FC236}">
                    <a16:creationId xmlns:a16="http://schemas.microsoft.com/office/drawing/2014/main" id="{AC485919-3902-319E-30BD-905AF6A2E1BF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3047" y="2464"/>
                <a:ext cx="33" cy="533"/>
              </a:xfrm>
              <a:custGeom>
                <a:avLst/>
                <a:gdLst>
                  <a:gd name="T0" fmla="*/ 33 w 33"/>
                  <a:gd name="T1" fmla="*/ 0 h 533"/>
                  <a:gd name="T2" fmla="*/ 14 w 33"/>
                  <a:gd name="T3" fmla="*/ 528 h 533"/>
                  <a:gd name="T4" fmla="*/ 0 w 33"/>
                  <a:gd name="T5" fmla="*/ 533 h 533"/>
                  <a:gd name="T6" fmla="*/ 24 w 33"/>
                  <a:gd name="T7" fmla="*/ 5 h 533"/>
                  <a:gd name="T8" fmla="*/ 33 w 33"/>
                  <a:gd name="T9" fmla="*/ 0 h 5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3" h="533">
                    <a:moveTo>
                      <a:pt x="33" y="0"/>
                    </a:moveTo>
                    <a:lnTo>
                      <a:pt x="14" y="528"/>
                    </a:lnTo>
                    <a:lnTo>
                      <a:pt x="0" y="533"/>
                    </a:lnTo>
                    <a:lnTo>
                      <a:pt x="24" y="5"/>
                    </a:lnTo>
                    <a:lnTo>
                      <a:pt x="33" y="0"/>
                    </a:lnTo>
                    <a:close/>
                  </a:path>
                </a:pathLst>
              </a:custGeom>
              <a:solidFill>
                <a:srgbClr val="F2D3B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38" name="Freeform 89">
                <a:extLst>
                  <a:ext uri="{FF2B5EF4-FFF2-40B4-BE49-F238E27FC236}">
                    <a16:creationId xmlns:a16="http://schemas.microsoft.com/office/drawing/2014/main" id="{D176FA22-24A4-1C5F-C998-68CE2D05675F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3066" y="2464"/>
                <a:ext cx="34" cy="528"/>
              </a:xfrm>
              <a:custGeom>
                <a:avLst/>
                <a:gdLst>
                  <a:gd name="T0" fmla="*/ 34 w 34"/>
                  <a:gd name="T1" fmla="*/ 10 h 528"/>
                  <a:gd name="T2" fmla="*/ 29 w 34"/>
                  <a:gd name="T3" fmla="*/ 144 h 528"/>
                  <a:gd name="T4" fmla="*/ 24 w 34"/>
                  <a:gd name="T5" fmla="*/ 266 h 528"/>
                  <a:gd name="T6" fmla="*/ 24 w 34"/>
                  <a:gd name="T7" fmla="*/ 400 h 528"/>
                  <a:gd name="T8" fmla="*/ 24 w 34"/>
                  <a:gd name="T9" fmla="*/ 528 h 528"/>
                  <a:gd name="T10" fmla="*/ 24 w 34"/>
                  <a:gd name="T11" fmla="*/ 528 h 528"/>
                  <a:gd name="T12" fmla="*/ 19 w 34"/>
                  <a:gd name="T13" fmla="*/ 528 h 528"/>
                  <a:gd name="T14" fmla="*/ 14 w 34"/>
                  <a:gd name="T15" fmla="*/ 528 h 528"/>
                  <a:gd name="T16" fmla="*/ 14 w 34"/>
                  <a:gd name="T17" fmla="*/ 528 h 528"/>
                  <a:gd name="T18" fmla="*/ 10 w 34"/>
                  <a:gd name="T19" fmla="*/ 528 h 528"/>
                  <a:gd name="T20" fmla="*/ 10 w 34"/>
                  <a:gd name="T21" fmla="*/ 528 h 528"/>
                  <a:gd name="T22" fmla="*/ 5 w 34"/>
                  <a:gd name="T23" fmla="*/ 528 h 528"/>
                  <a:gd name="T24" fmla="*/ 0 w 34"/>
                  <a:gd name="T25" fmla="*/ 528 h 528"/>
                  <a:gd name="T26" fmla="*/ 5 w 34"/>
                  <a:gd name="T27" fmla="*/ 400 h 528"/>
                  <a:gd name="T28" fmla="*/ 10 w 34"/>
                  <a:gd name="T29" fmla="*/ 266 h 528"/>
                  <a:gd name="T30" fmla="*/ 14 w 34"/>
                  <a:gd name="T31" fmla="*/ 133 h 528"/>
                  <a:gd name="T32" fmla="*/ 19 w 34"/>
                  <a:gd name="T33" fmla="*/ 0 h 528"/>
                  <a:gd name="T34" fmla="*/ 24 w 34"/>
                  <a:gd name="T35" fmla="*/ 5 h 528"/>
                  <a:gd name="T36" fmla="*/ 29 w 34"/>
                  <a:gd name="T37" fmla="*/ 5 h 528"/>
                  <a:gd name="T38" fmla="*/ 29 w 34"/>
                  <a:gd name="T39" fmla="*/ 10 h 528"/>
                  <a:gd name="T40" fmla="*/ 34 w 34"/>
                  <a:gd name="T41" fmla="*/ 10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34" h="528">
                    <a:moveTo>
                      <a:pt x="34" y="10"/>
                    </a:moveTo>
                    <a:lnTo>
                      <a:pt x="29" y="144"/>
                    </a:lnTo>
                    <a:lnTo>
                      <a:pt x="24" y="266"/>
                    </a:lnTo>
                    <a:lnTo>
                      <a:pt x="24" y="400"/>
                    </a:lnTo>
                    <a:lnTo>
                      <a:pt x="24" y="528"/>
                    </a:lnTo>
                    <a:lnTo>
                      <a:pt x="24" y="528"/>
                    </a:lnTo>
                    <a:lnTo>
                      <a:pt x="19" y="528"/>
                    </a:lnTo>
                    <a:lnTo>
                      <a:pt x="14" y="528"/>
                    </a:lnTo>
                    <a:lnTo>
                      <a:pt x="14" y="528"/>
                    </a:lnTo>
                    <a:lnTo>
                      <a:pt x="10" y="528"/>
                    </a:lnTo>
                    <a:lnTo>
                      <a:pt x="10" y="528"/>
                    </a:lnTo>
                    <a:lnTo>
                      <a:pt x="5" y="528"/>
                    </a:lnTo>
                    <a:lnTo>
                      <a:pt x="0" y="528"/>
                    </a:lnTo>
                    <a:lnTo>
                      <a:pt x="5" y="400"/>
                    </a:lnTo>
                    <a:lnTo>
                      <a:pt x="10" y="266"/>
                    </a:lnTo>
                    <a:lnTo>
                      <a:pt x="14" y="133"/>
                    </a:lnTo>
                    <a:lnTo>
                      <a:pt x="19" y="0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10"/>
                    </a:lnTo>
                    <a:lnTo>
                      <a:pt x="34" y="10"/>
                    </a:lnTo>
                    <a:close/>
                  </a:path>
                </a:pathLst>
              </a:custGeom>
              <a:solidFill>
                <a:srgbClr val="A56D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6" name="Freeform 90">
                <a:extLst>
                  <a:ext uri="{FF2B5EF4-FFF2-40B4-BE49-F238E27FC236}">
                    <a16:creationId xmlns:a16="http://schemas.microsoft.com/office/drawing/2014/main" id="{27AC6E83-2EC0-3AE6-F199-2E4E681A60E8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817" y="2490"/>
                <a:ext cx="215" cy="86"/>
              </a:xfrm>
              <a:custGeom>
                <a:avLst/>
                <a:gdLst>
                  <a:gd name="T0" fmla="*/ 110 w 215"/>
                  <a:gd name="T1" fmla="*/ 86 h 86"/>
                  <a:gd name="T2" fmla="*/ 0 w 215"/>
                  <a:gd name="T3" fmla="*/ 59 h 86"/>
                  <a:gd name="T4" fmla="*/ 9 w 215"/>
                  <a:gd name="T5" fmla="*/ 59 h 86"/>
                  <a:gd name="T6" fmla="*/ 14 w 215"/>
                  <a:gd name="T7" fmla="*/ 54 h 86"/>
                  <a:gd name="T8" fmla="*/ 24 w 215"/>
                  <a:gd name="T9" fmla="*/ 48 h 86"/>
                  <a:gd name="T10" fmla="*/ 29 w 215"/>
                  <a:gd name="T11" fmla="*/ 48 h 86"/>
                  <a:gd name="T12" fmla="*/ 38 w 215"/>
                  <a:gd name="T13" fmla="*/ 43 h 86"/>
                  <a:gd name="T14" fmla="*/ 48 w 215"/>
                  <a:gd name="T15" fmla="*/ 38 h 86"/>
                  <a:gd name="T16" fmla="*/ 53 w 215"/>
                  <a:gd name="T17" fmla="*/ 32 h 86"/>
                  <a:gd name="T18" fmla="*/ 62 w 215"/>
                  <a:gd name="T19" fmla="*/ 32 h 86"/>
                  <a:gd name="T20" fmla="*/ 72 w 215"/>
                  <a:gd name="T21" fmla="*/ 27 h 86"/>
                  <a:gd name="T22" fmla="*/ 77 w 215"/>
                  <a:gd name="T23" fmla="*/ 22 h 86"/>
                  <a:gd name="T24" fmla="*/ 86 w 215"/>
                  <a:gd name="T25" fmla="*/ 22 h 86"/>
                  <a:gd name="T26" fmla="*/ 96 w 215"/>
                  <a:gd name="T27" fmla="*/ 16 h 86"/>
                  <a:gd name="T28" fmla="*/ 100 w 215"/>
                  <a:gd name="T29" fmla="*/ 11 h 86"/>
                  <a:gd name="T30" fmla="*/ 110 w 215"/>
                  <a:gd name="T31" fmla="*/ 6 h 86"/>
                  <a:gd name="T32" fmla="*/ 115 w 215"/>
                  <a:gd name="T33" fmla="*/ 6 h 86"/>
                  <a:gd name="T34" fmla="*/ 124 w 215"/>
                  <a:gd name="T35" fmla="*/ 0 h 86"/>
                  <a:gd name="T36" fmla="*/ 215 w 215"/>
                  <a:gd name="T37" fmla="*/ 27 h 86"/>
                  <a:gd name="T38" fmla="*/ 110 w 215"/>
                  <a:gd name="T39" fmla="*/ 8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215" h="86">
                    <a:moveTo>
                      <a:pt x="110" y="86"/>
                    </a:moveTo>
                    <a:lnTo>
                      <a:pt x="0" y="59"/>
                    </a:lnTo>
                    <a:lnTo>
                      <a:pt x="9" y="59"/>
                    </a:lnTo>
                    <a:lnTo>
                      <a:pt x="14" y="54"/>
                    </a:lnTo>
                    <a:lnTo>
                      <a:pt x="24" y="48"/>
                    </a:lnTo>
                    <a:lnTo>
                      <a:pt x="29" y="48"/>
                    </a:lnTo>
                    <a:lnTo>
                      <a:pt x="38" y="43"/>
                    </a:lnTo>
                    <a:lnTo>
                      <a:pt x="48" y="38"/>
                    </a:lnTo>
                    <a:lnTo>
                      <a:pt x="53" y="32"/>
                    </a:lnTo>
                    <a:lnTo>
                      <a:pt x="62" y="32"/>
                    </a:lnTo>
                    <a:lnTo>
                      <a:pt x="72" y="27"/>
                    </a:lnTo>
                    <a:lnTo>
                      <a:pt x="77" y="22"/>
                    </a:lnTo>
                    <a:lnTo>
                      <a:pt x="86" y="22"/>
                    </a:lnTo>
                    <a:lnTo>
                      <a:pt x="96" y="16"/>
                    </a:lnTo>
                    <a:lnTo>
                      <a:pt x="100" y="11"/>
                    </a:lnTo>
                    <a:lnTo>
                      <a:pt x="110" y="6"/>
                    </a:lnTo>
                    <a:lnTo>
                      <a:pt x="115" y="6"/>
                    </a:lnTo>
                    <a:lnTo>
                      <a:pt x="124" y="0"/>
                    </a:lnTo>
                    <a:lnTo>
                      <a:pt x="215" y="27"/>
                    </a:lnTo>
                    <a:lnTo>
                      <a:pt x="110" y="8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7" name="Freeform 91">
                <a:extLst>
                  <a:ext uri="{FF2B5EF4-FFF2-40B4-BE49-F238E27FC236}">
                    <a16:creationId xmlns:a16="http://schemas.microsoft.com/office/drawing/2014/main" id="{16733432-A046-DECC-F371-7CC94615F715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2937" y="2522"/>
                <a:ext cx="129" cy="86"/>
              </a:xfrm>
              <a:custGeom>
                <a:avLst/>
                <a:gdLst>
                  <a:gd name="T0" fmla="*/ 129 w 129"/>
                  <a:gd name="T1" fmla="*/ 6 h 86"/>
                  <a:gd name="T2" fmla="*/ 124 w 129"/>
                  <a:gd name="T3" fmla="*/ 86 h 86"/>
                  <a:gd name="T4" fmla="*/ 115 w 129"/>
                  <a:gd name="T5" fmla="*/ 86 h 86"/>
                  <a:gd name="T6" fmla="*/ 105 w 129"/>
                  <a:gd name="T7" fmla="*/ 80 h 86"/>
                  <a:gd name="T8" fmla="*/ 100 w 129"/>
                  <a:gd name="T9" fmla="*/ 80 h 86"/>
                  <a:gd name="T10" fmla="*/ 91 w 129"/>
                  <a:gd name="T11" fmla="*/ 80 h 86"/>
                  <a:gd name="T12" fmla="*/ 86 w 129"/>
                  <a:gd name="T13" fmla="*/ 75 h 86"/>
                  <a:gd name="T14" fmla="*/ 76 w 129"/>
                  <a:gd name="T15" fmla="*/ 75 h 86"/>
                  <a:gd name="T16" fmla="*/ 72 w 129"/>
                  <a:gd name="T17" fmla="*/ 75 h 86"/>
                  <a:gd name="T18" fmla="*/ 62 w 129"/>
                  <a:gd name="T19" fmla="*/ 70 h 86"/>
                  <a:gd name="T20" fmla="*/ 52 w 129"/>
                  <a:gd name="T21" fmla="*/ 70 h 86"/>
                  <a:gd name="T22" fmla="*/ 48 w 129"/>
                  <a:gd name="T23" fmla="*/ 70 h 86"/>
                  <a:gd name="T24" fmla="*/ 38 w 129"/>
                  <a:gd name="T25" fmla="*/ 64 h 86"/>
                  <a:gd name="T26" fmla="*/ 33 w 129"/>
                  <a:gd name="T27" fmla="*/ 64 h 86"/>
                  <a:gd name="T28" fmla="*/ 24 w 129"/>
                  <a:gd name="T29" fmla="*/ 64 h 86"/>
                  <a:gd name="T30" fmla="*/ 14 w 129"/>
                  <a:gd name="T31" fmla="*/ 59 h 86"/>
                  <a:gd name="T32" fmla="*/ 9 w 129"/>
                  <a:gd name="T33" fmla="*/ 59 h 86"/>
                  <a:gd name="T34" fmla="*/ 0 w 129"/>
                  <a:gd name="T35" fmla="*/ 54 h 86"/>
                  <a:gd name="T36" fmla="*/ 14 w 129"/>
                  <a:gd name="T37" fmla="*/ 48 h 86"/>
                  <a:gd name="T38" fmla="*/ 24 w 129"/>
                  <a:gd name="T39" fmla="*/ 43 h 86"/>
                  <a:gd name="T40" fmla="*/ 38 w 129"/>
                  <a:gd name="T41" fmla="*/ 32 h 86"/>
                  <a:gd name="T42" fmla="*/ 52 w 129"/>
                  <a:gd name="T43" fmla="*/ 27 h 86"/>
                  <a:gd name="T44" fmla="*/ 62 w 129"/>
                  <a:gd name="T45" fmla="*/ 22 h 86"/>
                  <a:gd name="T46" fmla="*/ 76 w 129"/>
                  <a:gd name="T47" fmla="*/ 16 h 86"/>
                  <a:gd name="T48" fmla="*/ 91 w 129"/>
                  <a:gd name="T49" fmla="*/ 6 h 86"/>
                  <a:gd name="T50" fmla="*/ 105 w 129"/>
                  <a:gd name="T51" fmla="*/ 0 h 86"/>
                  <a:gd name="T52" fmla="*/ 105 w 129"/>
                  <a:gd name="T53" fmla="*/ 0 h 86"/>
                  <a:gd name="T54" fmla="*/ 110 w 129"/>
                  <a:gd name="T55" fmla="*/ 0 h 86"/>
                  <a:gd name="T56" fmla="*/ 115 w 129"/>
                  <a:gd name="T57" fmla="*/ 0 h 86"/>
                  <a:gd name="T58" fmla="*/ 115 w 129"/>
                  <a:gd name="T59" fmla="*/ 0 h 86"/>
                  <a:gd name="T60" fmla="*/ 119 w 129"/>
                  <a:gd name="T61" fmla="*/ 6 h 86"/>
                  <a:gd name="T62" fmla="*/ 119 w 129"/>
                  <a:gd name="T63" fmla="*/ 6 h 86"/>
                  <a:gd name="T64" fmla="*/ 124 w 129"/>
                  <a:gd name="T65" fmla="*/ 6 h 86"/>
                  <a:gd name="T66" fmla="*/ 129 w 129"/>
                  <a:gd name="T67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9" h="86">
                    <a:moveTo>
                      <a:pt x="129" y="6"/>
                    </a:moveTo>
                    <a:lnTo>
                      <a:pt x="124" y="86"/>
                    </a:lnTo>
                    <a:lnTo>
                      <a:pt x="115" y="86"/>
                    </a:lnTo>
                    <a:lnTo>
                      <a:pt x="105" y="80"/>
                    </a:lnTo>
                    <a:lnTo>
                      <a:pt x="100" y="80"/>
                    </a:lnTo>
                    <a:lnTo>
                      <a:pt x="91" y="80"/>
                    </a:lnTo>
                    <a:lnTo>
                      <a:pt x="86" y="75"/>
                    </a:lnTo>
                    <a:lnTo>
                      <a:pt x="76" y="75"/>
                    </a:lnTo>
                    <a:lnTo>
                      <a:pt x="72" y="75"/>
                    </a:lnTo>
                    <a:lnTo>
                      <a:pt x="6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38" y="64"/>
                    </a:lnTo>
                    <a:lnTo>
                      <a:pt x="33" y="64"/>
                    </a:lnTo>
                    <a:lnTo>
                      <a:pt x="24" y="64"/>
                    </a:lnTo>
                    <a:lnTo>
                      <a:pt x="14" y="59"/>
                    </a:lnTo>
                    <a:lnTo>
                      <a:pt x="9" y="59"/>
                    </a:lnTo>
                    <a:lnTo>
                      <a:pt x="0" y="54"/>
                    </a:lnTo>
                    <a:lnTo>
                      <a:pt x="14" y="48"/>
                    </a:lnTo>
                    <a:lnTo>
                      <a:pt x="24" y="43"/>
                    </a:lnTo>
                    <a:lnTo>
                      <a:pt x="38" y="32"/>
                    </a:lnTo>
                    <a:lnTo>
                      <a:pt x="52" y="27"/>
                    </a:lnTo>
                    <a:lnTo>
                      <a:pt x="62" y="22"/>
                    </a:lnTo>
                    <a:lnTo>
                      <a:pt x="76" y="16"/>
                    </a:lnTo>
                    <a:lnTo>
                      <a:pt x="91" y="6"/>
                    </a:lnTo>
                    <a:lnTo>
                      <a:pt x="105" y="0"/>
                    </a:lnTo>
                    <a:lnTo>
                      <a:pt x="105" y="0"/>
                    </a:lnTo>
                    <a:lnTo>
                      <a:pt x="110" y="0"/>
                    </a:lnTo>
                    <a:lnTo>
                      <a:pt x="115" y="0"/>
                    </a:lnTo>
                    <a:lnTo>
                      <a:pt x="115" y="0"/>
                    </a:lnTo>
                    <a:lnTo>
                      <a:pt x="119" y="6"/>
                    </a:lnTo>
                    <a:lnTo>
                      <a:pt x="119" y="6"/>
                    </a:lnTo>
                    <a:lnTo>
                      <a:pt x="124" y="6"/>
                    </a:lnTo>
                    <a:lnTo>
                      <a:pt x="12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8" name="Freeform 92">
                <a:extLst>
                  <a:ext uri="{FF2B5EF4-FFF2-40B4-BE49-F238E27FC236}">
                    <a16:creationId xmlns:a16="http://schemas.microsoft.com/office/drawing/2014/main" id="{0E239F11-759F-F63B-BE6A-33AC4FD089A1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3100" y="2538"/>
                <a:ext cx="19" cy="86"/>
              </a:xfrm>
              <a:custGeom>
                <a:avLst/>
                <a:gdLst>
                  <a:gd name="T0" fmla="*/ 19 w 19"/>
                  <a:gd name="T1" fmla="*/ 6 h 86"/>
                  <a:gd name="T2" fmla="*/ 19 w 19"/>
                  <a:gd name="T3" fmla="*/ 27 h 86"/>
                  <a:gd name="T4" fmla="*/ 19 w 19"/>
                  <a:gd name="T5" fmla="*/ 48 h 86"/>
                  <a:gd name="T6" fmla="*/ 19 w 19"/>
                  <a:gd name="T7" fmla="*/ 64 h 86"/>
                  <a:gd name="T8" fmla="*/ 14 w 19"/>
                  <a:gd name="T9" fmla="*/ 86 h 86"/>
                  <a:gd name="T10" fmla="*/ 9 w 19"/>
                  <a:gd name="T11" fmla="*/ 86 h 86"/>
                  <a:gd name="T12" fmla="*/ 4 w 19"/>
                  <a:gd name="T13" fmla="*/ 80 h 86"/>
                  <a:gd name="T14" fmla="*/ 4 w 19"/>
                  <a:gd name="T15" fmla="*/ 80 h 86"/>
                  <a:gd name="T16" fmla="*/ 0 w 19"/>
                  <a:gd name="T17" fmla="*/ 75 h 86"/>
                  <a:gd name="T18" fmla="*/ 4 w 19"/>
                  <a:gd name="T19" fmla="*/ 64 h 86"/>
                  <a:gd name="T20" fmla="*/ 4 w 19"/>
                  <a:gd name="T21" fmla="*/ 43 h 86"/>
                  <a:gd name="T22" fmla="*/ 4 w 19"/>
                  <a:gd name="T23" fmla="*/ 22 h 86"/>
                  <a:gd name="T24" fmla="*/ 4 w 19"/>
                  <a:gd name="T25" fmla="*/ 0 h 86"/>
                  <a:gd name="T26" fmla="*/ 9 w 19"/>
                  <a:gd name="T27" fmla="*/ 0 h 86"/>
                  <a:gd name="T28" fmla="*/ 14 w 19"/>
                  <a:gd name="T29" fmla="*/ 0 h 86"/>
                  <a:gd name="T30" fmla="*/ 19 w 19"/>
                  <a:gd name="T31" fmla="*/ 6 h 86"/>
                  <a:gd name="T32" fmla="*/ 19 w 19"/>
                  <a:gd name="T33" fmla="*/ 6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9" h="86">
                    <a:moveTo>
                      <a:pt x="19" y="6"/>
                    </a:moveTo>
                    <a:lnTo>
                      <a:pt x="19" y="27"/>
                    </a:lnTo>
                    <a:lnTo>
                      <a:pt x="19" y="48"/>
                    </a:lnTo>
                    <a:lnTo>
                      <a:pt x="19" y="64"/>
                    </a:lnTo>
                    <a:lnTo>
                      <a:pt x="14" y="86"/>
                    </a:lnTo>
                    <a:lnTo>
                      <a:pt x="9" y="86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0" y="75"/>
                    </a:lnTo>
                    <a:lnTo>
                      <a:pt x="4" y="64"/>
                    </a:lnTo>
                    <a:lnTo>
                      <a:pt x="4" y="43"/>
                    </a:lnTo>
                    <a:lnTo>
                      <a:pt x="4" y="22"/>
                    </a:lnTo>
                    <a:lnTo>
                      <a:pt x="4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9" y="6"/>
                    </a:lnTo>
                    <a:lnTo>
                      <a:pt x="19" y="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59" name="Freeform 93">
                <a:extLst>
                  <a:ext uri="{FF2B5EF4-FFF2-40B4-BE49-F238E27FC236}">
                    <a16:creationId xmlns:a16="http://schemas.microsoft.com/office/drawing/2014/main" id="{E4A4CFCD-468B-D8A8-B37B-D5C8DC1D4947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2041" y="2688"/>
                <a:ext cx="23" cy="149"/>
              </a:xfrm>
              <a:custGeom>
                <a:avLst/>
                <a:gdLst>
                  <a:gd name="T0" fmla="*/ 23 w 23"/>
                  <a:gd name="T1" fmla="*/ 144 h 149"/>
                  <a:gd name="T2" fmla="*/ 19 w 23"/>
                  <a:gd name="T3" fmla="*/ 149 h 149"/>
                  <a:gd name="T4" fmla="*/ 19 w 23"/>
                  <a:gd name="T5" fmla="*/ 149 h 149"/>
                  <a:gd name="T6" fmla="*/ 14 w 23"/>
                  <a:gd name="T7" fmla="*/ 149 h 149"/>
                  <a:gd name="T8" fmla="*/ 9 w 23"/>
                  <a:gd name="T9" fmla="*/ 149 h 149"/>
                  <a:gd name="T10" fmla="*/ 9 w 23"/>
                  <a:gd name="T11" fmla="*/ 149 h 149"/>
                  <a:gd name="T12" fmla="*/ 4 w 23"/>
                  <a:gd name="T13" fmla="*/ 149 h 149"/>
                  <a:gd name="T14" fmla="*/ 0 w 23"/>
                  <a:gd name="T15" fmla="*/ 149 h 149"/>
                  <a:gd name="T16" fmla="*/ 0 w 23"/>
                  <a:gd name="T17" fmla="*/ 149 h 149"/>
                  <a:gd name="T18" fmla="*/ 0 w 23"/>
                  <a:gd name="T19" fmla="*/ 117 h 149"/>
                  <a:gd name="T20" fmla="*/ 0 w 23"/>
                  <a:gd name="T21" fmla="*/ 85 h 149"/>
                  <a:gd name="T22" fmla="*/ 0 w 23"/>
                  <a:gd name="T23" fmla="*/ 48 h 149"/>
                  <a:gd name="T24" fmla="*/ 0 w 23"/>
                  <a:gd name="T25" fmla="*/ 16 h 149"/>
                  <a:gd name="T26" fmla="*/ 4 w 23"/>
                  <a:gd name="T27" fmla="*/ 10 h 149"/>
                  <a:gd name="T28" fmla="*/ 4 w 23"/>
                  <a:gd name="T29" fmla="*/ 10 h 149"/>
                  <a:gd name="T30" fmla="*/ 9 w 23"/>
                  <a:gd name="T31" fmla="*/ 10 h 149"/>
                  <a:gd name="T32" fmla="*/ 9 w 23"/>
                  <a:gd name="T33" fmla="*/ 10 h 149"/>
                  <a:gd name="T34" fmla="*/ 14 w 23"/>
                  <a:gd name="T35" fmla="*/ 5 h 149"/>
                  <a:gd name="T36" fmla="*/ 19 w 23"/>
                  <a:gd name="T37" fmla="*/ 5 h 149"/>
                  <a:gd name="T38" fmla="*/ 19 w 23"/>
                  <a:gd name="T39" fmla="*/ 5 h 149"/>
                  <a:gd name="T40" fmla="*/ 23 w 23"/>
                  <a:gd name="T41" fmla="*/ 0 h 149"/>
                  <a:gd name="T42" fmla="*/ 23 w 23"/>
                  <a:gd name="T43" fmla="*/ 144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3" h="149">
                    <a:moveTo>
                      <a:pt x="23" y="144"/>
                    </a:moveTo>
                    <a:lnTo>
                      <a:pt x="19" y="149"/>
                    </a:lnTo>
                    <a:lnTo>
                      <a:pt x="19" y="149"/>
                    </a:lnTo>
                    <a:lnTo>
                      <a:pt x="14" y="149"/>
                    </a:lnTo>
                    <a:lnTo>
                      <a:pt x="9" y="149"/>
                    </a:lnTo>
                    <a:lnTo>
                      <a:pt x="9" y="149"/>
                    </a:lnTo>
                    <a:lnTo>
                      <a:pt x="4" y="149"/>
                    </a:lnTo>
                    <a:lnTo>
                      <a:pt x="0" y="149"/>
                    </a:lnTo>
                    <a:lnTo>
                      <a:pt x="0" y="149"/>
                    </a:lnTo>
                    <a:lnTo>
                      <a:pt x="0" y="117"/>
                    </a:lnTo>
                    <a:lnTo>
                      <a:pt x="0" y="85"/>
                    </a:lnTo>
                    <a:lnTo>
                      <a:pt x="0" y="48"/>
                    </a:lnTo>
                    <a:lnTo>
                      <a:pt x="0" y="1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9" y="10"/>
                    </a:lnTo>
                    <a:lnTo>
                      <a:pt x="9" y="10"/>
                    </a:lnTo>
                    <a:lnTo>
                      <a:pt x="14" y="5"/>
                    </a:lnTo>
                    <a:lnTo>
                      <a:pt x="19" y="5"/>
                    </a:lnTo>
                    <a:lnTo>
                      <a:pt x="19" y="5"/>
                    </a:lnTo>
                    <a:lnTo>
                      <a:pt x="23" y="0"/>
                    </a:lnTo>
                    <a:lnTo>
                      <a:pt x="23" y="144"/>
                    </a:lnTo>
                    <a:close/>
                  </a:path>
                </a:pathLst>
              </a:custGeom>
              <a:solidFill>
                <a:srgbClr val="EAC15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0" name="Freeform 94">
                <a:extLst>
                  <a:ext uri="{FF2B5EF4-FFF2-40B4-BE49-F238E27FC236}">
                    <a16:creationId xmlns:a16="http://schemas.microsoft.com/office/drawing/2014/main" id="{E3092ACD-BED5-521B-605F-91C8271DAB7E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2064" y="2688"/>
                <a:ext cx="39" cy="144"/>
              </a:xfrm>
              <a:custGeom>
                <a:avLst/>
                <a:gdLst>
                  <a:gd name="T0" fmla="*/ 39 w 39"/>
                  <a:gd name="T1" fmla="*/ 144 h 144"/>
                  <a:gd name="T2" fmla="*/ 34 w 39"/>
                  <a:gd name="T3" fmla="*/ 144 h 144"/>
                  <a:gd name="T4" fmla="*/ 29 w 39"/>
                  <a:gd name="T5" fmla="*/ 144 h 144"/>
                  <a:gd name="T6" fmla="*/ 24 w 39"/>
                  <a:gd name="T7" fmla="*/ 144 h 144"/>
                  <a:gd name="T8" fmla="*/ 20 w 39"/>
                  <a:gd name="T9" fmla="*/ 144 h 144"/>
                  <a:gd name="T10" fmla="*/ 15 w 39"/>
                  <a:gd name="T11" fmla="*/ 144 h 144"/>
                  <a:gd name="T12" fmla="*/ 10 w 39"/>
                  <a:gd name="T13" fmla="*/ 144 h 144"/>
                  <a:gd name="T14" fmla="*/ 5 w 39"/>
                  <a:gd name="T15" fmla="*/ 144 h 144"/>
                  <a:gd name="T16" fmla="*/ 0 w 39"/>
                  <a:gd name="T17" fmla="*/ 138 h 144"/>
                  <a:gd name="T18" fmla="*/ 0 w 39"/>
                  <a:gd name="T19" fmla="*/ 106 h 144"/>
                  <a:gd name="T20" fmla="*/ 0 w 39"/>
                  <a:gd name="T21" fmla="*/ 69 h 144"/>
                  <a:gd name="T22" fmla="*/ 0 w 39"/>
                  <a:gd name="T23" fmla="*/ 37 h 144"/>
                  <a:gd name="T24" fmla="*/ 0 w 39"/>
                  <a:gd name="T25" fmla="*/ 0 h 144"/>
                  <a:gd name="T26" fmla="*/ 5 w 39"/>
                  <a:gd name="T27" fmla="*/ 0 h 144"/>
                  <a:gd name="T28" fmla="*/ 10 w 39"/>
                  <a:gd name="T29" fmla="*/ 0 h 144"/>
                  <a:gd name="T30" fmla="*/ 15 w 39"/>
                  <a:gd name="T31" fmla="*/ 0 h 144"/>
                  <a:gd name="T32" fmla="*/ 20 w 39"/>
                  <a:gd name="T33" fmla="*/ 5 h 144"/>
                  <a:gd name="T34" fmla="*/ 24 w 39"/>
                  <a:gd name="T35" fmla="*/ 5 h 144"/>
                  <a:gd name="T36" fmla="*/ 29 w 39"/>
                  <a:gd name="T37" fmla="*/ 5 h 144"/>
                  <a:gd name="T38" fmla="*/ 29 w 39"/>
                  <a:gd name="T39" fmla="*/ 5 h 144"/>
                  <a:gd name="T40" fmla="*/ 34 w 39"/>
                  <a:gd name="T41" fmla="*/ 5 h 144"/>
                  <a:gd name="T42" fmla="*/ 39 w 39"/>
                  <a:gd name="T43" fmla="*/ 42 h 144"/>
                  <a:gd name="T44" fmla="*/ 39 w 39"/>
                  <a:gd name="T45" fmla="*/ 74 h 144"/>
                  <a:gd name="T46" fmla="*/ 34 w 39"/>
                  <a:gd name="T47" fmla="*/ 112 h 144"/>
                  <a:gd name="T48" fmla="*/ 39 w 39"/>
                  <a:gd name="T49" fmla="*/ 144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39" h="144">
                    <a:moveTo>
                      <a:pt x="39" y="144"/>
                    </a:moveTo>
                    <a:lnTo>
                      <a:pt x="34" y="144"/>
                    </a:lnTo>
                    <a:lnTo>
                      <a:pt x="29" y="144"/>
                    </a:lnTo>
                    <a:lnTo>
                      <a:pt x="24" y="144"/>
                    </a:lnTo>
                    <a:lnTo>
                      <a:pt x="20" y="144"/>
                    </a:lnTo>
                    <a:lnTo>
                      <a:pt x="15" y="144"/>
                    </a:lnTo>
                    <a:lnTo>
                      <a:pt x="10" y="144"/>
                    </a:lnTo>
                    <a:lnTo>
                      <a:pt x="5" y="144"/>
                    </a:lnTo>
                    <a:lnTo>
                      <a:pt x="0" y="138"/>
                    </a:lnTo>
                    <a:lnTo>
                      <a:pt x="0" y="106"/>
                    </a:lnTo>
                    <a:lnTo>
                      <a:pt x="0" y="69"/>
                    </a:lnTo>
                    <a:lnTo>
                      <a:pt x="0" y="37"/>
                    </a:lnTo>
                    <a:lnTo>
                      <a:pt x="0" y="0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5" y="0"/>
                    </a:lnTo>
                    <a:lnTo>
                      <a:pt x="20" y="5"/>
                    </a:lnTo>
                    <a:lnTo>
                      <a:pt x="24" y="5"/>
                    </a:lnTo>
                    <a:lnTo>
                      <a:pt x="29" y="5"/>
                    </a:lnTo>
                    <a:lnTo>
                      <a:pt x="29" y="5"/>
                    </a:lnTo>
                    <a:lnTo>
                      <a:pt x="34" y="5"/>
                    </a:lnTo>
                    <a:lnTo>
                      <a:pt x="39" y="42"/>
                    </a:lnTo>
                    <a:lnTo>
                      <a:pt x="39" y="74"/>
                    </a:lnTo>
                    <a:lnTo>
                      <a:pt x="34" y="112"/>
                    </a:lnTo>
                    <a:lnTo>
                      <a:pt x="39" y="14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1" name="Freeform 95">
                <a:extLst>
                  <a:ext uri="{FF2B5EF4-FFF2-40B4-BE49-F238E27FC236}">
                    <a16:creationId xmlns:a16="http://schemas.microsoft.com/office/drawing/2014/main" id="{C70A587C-3348-B87A-A26F-BEB59A685F03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2156" y="2704"/>
                <a:ext cx="167" cy="133"/>
              </a:xfrm>
              <a:custGeom>
                <a:avLst/>
                <a:gdLst>
                  <a:gd name="T0" fmla="*/ 14 w 167"/>
                  <a:gd name="T1" fmla="*/ 133 h 133"/>
                  <a:gd name="T2" fmla="*/ 0 w 167"/>
                  <a:gd name="T3" fmla="*/ 133 h 133"/>
                  <a:gd name="T4" fmla="*/ 0 w 167"/>
                  <a:gd name="T5" fmla="*/ 0 h 133"/>
                  <a:gd name="T6" fmla="*/ 167 w 167"/>
                  <a:gd name="T7" fmla="*/ 26 h 133"/>
                  <a:gd name="T8" fmla="*/ 14 w 167"/>
                  <a:gd name="T9" fmla="*/ 133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7" h="133">
                    <a:moveTo>
                      <a:pt x="14" y="133"/>
                    </a:moveTo>
                    <a:lnTo>
                      <a:pt x="0" y="133"/>
                    </a:lnTo>
                    <a:lnTo>
                      <a:pt x="0" y="0"/>
                    </a:lnTo>
                    <a:lnTo>
                      <a:pt x="167" y="26"/>
                    </a:lnTo>
                    <a:lnTo>
                      <a:pt x="14" y="133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2" name="Freeform 96">
                <a:extLst>
                  <a:ext uri="{FF2B5EF4-FFF2-40B4-BE49-F238E27FC236}">
                    <a16:creationId xmlns:a16="http://schemas.microsoft.com/office/drawing/2014/main" id="{CB72AAEF-4929-90AC-CBFB-53D801BE8ED6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2184" y="2730"/>
                <a:ext cx="264" cy="118"/>
              </a:xfrm>
              <a:custGeom>
                <a:avLst/>
                <a:gdLst>
                  <a:gd name="T0" fmla="*/ 259 w 264"/>
                  <a:gd name="T1" fmla="*/ 22 h 118"/>
                  <a:gd name="T2" fmla="*/ 240 w 264"/>
                  <a:gd name="T3" fmla="*/ 32 h 118"/>
                  <a:gd name="T4" fmla="*/ 226 w 264"/>
                  <a:gd name="T5" fmla="*/ 48 h 118"/>
                  <a:gd name="T6" fmla="*/ 206 w 264"/>
                  <a:gd name="T7" fmla="*/ 59 h 118"/>
                  <a:gd name="T8" fmla="*/ 187 w 264"/>
                  <a:gd name="T9" fmla="*/ 75 h 118"/>
                  <a:gd name="T10" fmla="*/ 168 w 264"/>
                  <a:gd name="T11" fmla="*/ 86 h 118"/>
                  <a:gd name="T12" fmla="*/ 149 w 264"/>
                  <a:gd name="T13" fmla="*/ 96 h 118"/>
                  <a:gd name="T14" fmla="*/ 130 w 264"/>
                  <a:gd name="T15" fmla="*/ 112 h 118"/>
                  <a:gd name="T16" fmla="*/ 115 w 264"/>
                  <a:gd name="T17" fmla="*/ 118 h 118"/>
                  <a:gd name="T18" fmla="*/ 101 w 264"/>
                  <a:gd name="T19" fmla="*/ 112 h 118"/>
                  <a:gd name="T20" fmla="*/ 87 w 264"/>
                  <a:gd name="T21" fmla="*/ 112 h 118"/>
                  <a:gd name="T22" fmla="*/ 72 w 264"/>
                  <a:gd name="T23" fmla="*/ 112 h 118"/>
                  <a:gd name="T24" fmla="*/ 53 w 264"/>
                  <a:gd name="T25" fmla="*/ 112 h 118"/>
                  <a:gd name="T26" fmla="*/ 39 w 264"/>
                  <a:gd name="T27" fmla="*/ 112 h 118"/>
                  <a:gd name="T28" fmla="*/ 24 w 264"/>
                  <a:gd name="T29" fmla="*/ 112 h 118"/>
                  <a:gd name="T30" fmla="*/ 10 w 264"/>
                  <a:gd name="T31" fmla="*/ 107 h 118"/>
                  <a:gd name="T32" fmla="*/ 10 w 264"/>
                  <a:gd name="T33" fmla="*/ 102 h 118"/>
                  <a:gd name="T34" fmla="*/ 29 w 264"/>
                  <a:gd name="T35" fmla="*/ 86 h 118"/>
                  <a:gd name="T36" fmla="*/ 48 w 264"/>
                  <a:gd name="T37" fmla="*/ 75 h 118"/>
                  <a:gd name="T38" fmla="*/ 67 w 264"/>
                  <a:gd name="T39" fmla="*/ 59 h 118"/>
                  <a:gd name="T40" fmla="*/ 82 w 264"/>
                  <a:gd name="T41" fmla="*/ 48 h 118"/>
                  <a:gd name="T42" fmla="*/ 101 w 264"/>
                  <a:gd name="T43" fmla="*/ 32 h 118"/>
                  <a:gd name="T44" fmla="*/ 120 w 264"/>
                  <a:gd name="T45" fmla="*/ 22 h 118"/>
                  <a:gd name="T46" fmla="*/ 139 w 264"/>
                  <a:gd name="T47" fmla="*/ 6 h 118"/>
                  <a:gd name="T48" fmla="*/ 154 w 264"/>
                  <a:gd name="T49" fmla="*/ 0 h 118"/>
                  <a:gd name="T50" fmla="*/ 168 w 264"/>
                  <a:gd name="T51" fmla="*/ 0 h 118"/>
                  <a:gd name="T52" fmla="*/ 182 w 264"/>
                  <a:gd name="T53" fmla="*/ 0 h 118"/>
                  <a:gd name="T54" fmla="*/ 197 w 264"/>
                  <a:gd name="T55" fmla="*/ 6 h 118"/>
                  <a:gd name="T56" fmla="*/ 216 w 264"/>
                  <a:gd name="T57" fmla="*/ 11 h 118"/>
                  <a:gd name="T58" fmla="*/ 230 w 264"/>
                  <a:gd name="T59" fmla="*/ 11 h 118"/>
                  <a:gd name="T60" fmla="*/ 245 w 264"/>
                  <a:gd name="T61" fmla="*/ 11 h 118"/>
                  <a:gd name="T62" fmla="*/ 259 w 264"/>
                  <a:gd name="T63" fmla="*/ 1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64" h="118">
                    <a:moveTo>
                      <a:pt x="264" y="16"/>
                    </a:moveTo>
                    <a:lnTo>
                      <a:pt x="259" y="22"/>
                    </a:lnTo>
                    <a:lnTo>
                      <a:pt x="249" y="27"/>
                    </a:lnTo>
                    <a:lnTo>
                      <a:pt x="240" y="32"/>
                    </a:lnTo>
                    <a:lnTo>
                      <a:pt x="230" y="43"/>
                    </a:lnTo>
                    <a:lnTo>
                      <a:pt x="226" y="48"/>
                    </a:lnTo>
                    <a:lnTo>
                      <a:pt x="216" y="54"/>
                    </a:lnTo>
                    <a:lnTo>
                      <a:pt x="206" y="59"/>
                    </a:lnTo>
                    <a:lnTo>
                      <a:pt x="197" y="64"/>
                    </a:lnTo>
                    <a:lnTo>
                      <a:pt x="187" y="75"/>
                    </a:lnTo>
                    <a:lnTo>
                      <a:pt x="178" y="80"/>
                    </a:lnTo>
                    <a:lnTo>
                      <a:pt x="168" y="86"/>
                    </a:lnTo>
                    <a:lnTo>
                      <a:pt x="158" y="91"/>
                    </a:lnTo>
                    <a:lnTo>
                      <a:pt x="149" y="96"/>
                    </a:lnTo>
                    <a:lnTo>
                      <a:pt x="139" y="102"/>
                    </a:lnTo>
                    <a:lnTo>
                      <a:pt x="130" y="112"/>
                    </a:lnTo>
                    <a:lnTo>
                      <a:pt x="125" y="118"/>
                    </a:lnTo>
                    <a:lnTo>
                      <a:pt x="115" y="118"/>
                    </a:lnTo>
                    <a:lnTo>
                      <a:pt x="106" y="112"/>
                    </a:lnTo>
                    <a:lnTo>
                      <a:pt x="101" y="112"/>
                    </a:lnTo>
                    <a:lnTo>
                      <a:pt x="91" y="112"/>
                    </a:lnTo>
                    <a:lnTo>
                      <a:pt x="87" y="112"/>
                    </a:lnTo>
                    <a:lnTo>
                      <a:pt x="77" y="112"/>
                    </a:lnTo>
                    <a:lnTo>
                      <a:pt x="72" y="112"/>
                    </a:lnTo>
                    <a:lnTo>
                      <a:pt x="63" y="112"/>
                    </a:lnTo>
                    <a:lnTo>
                      <a:pt x="53" y="112"/>
                    </a:lnTo>
                    <a:lnTo>
                      <a:pt x="48" y="112"/>
                    </a:lnTo>
                    <a:lnTo>
                      <a:pt x="39" y="112"/>
                    </a:lnTo>
                    <a:lnTo>
                      <a:pt x="29" y="112"/>
                    </a:lnTo>
                    <a:lnTo>
                      <a:pt x="24" y="112"/>
                    </a:lnTo>
                    <a:lnTo>
                      <a:pt x="15" y="107"/>
                    </a:lnTo>
                    <a:lnTo>
                      <a:pt x="10" y="107"/>
                    </a:lnTo>
                    <a:lnTo>
                      <a:pt x="0" y="107"/>
                    </a:lnTo>
                    <a:lnTo>
                      <a:pt x="10" y="102"/>
                    </a:lnTo>
                    <a:lnTo>
                      <a:pt x="19" y="96"/>
                    </a:lnTo>
                    <a:lnTo>
                      <a:pt x="29" y="86"/>
                    </a:lnTo>
                    <a:lnTo>
                      <a:pt x="39" y="80"/>
                    </a:lnTo>
                    <a:lnTo>
                      <a:pt x="48" y="75"/>
                    </a:lnTo>
                    <a:lnTo>
                      <a:pt x="58" y="70"/>
                    </a:lnTo>
                    <a:lnTo>
                      <a:pt x="67" y="59"/>
                    </a:lnTo>
                    <a:lnTo>
                      <a:pt x="77" y="54"/>
                    </a:lnTo>
                    <a:lnTo>
                      <a:pt x="82" y="48"/>
                    </a:lnTo>
                    <a:lnTo>
                      <a:pt x="91" y="43"/>
                    </a:lnTo>
                    <a:lnTo>
                      <a:pt x="101" y="32"/>
                    </a:lnTo>
                    <a:lnTo>
                      <a:pt x="110" y="27"/>
                    </a:lnTo>
                    <a:lnTo>
                      <a:pt x="120" y="22"/>
                    </a:lnTo>
                    <a:lnTo>
                      <a:pt x="130" y="16"/>
                    </a:lnTo>
                    <a:lnTo>
                      <a:pt x="139" y="6"/>
                    </a:lnTo>
                    <a:lnTo>
                      <a:pt x="149" y="0"/>
                    </a:lnTo>
                    <a:lnTo>
                      <a:pt x="154" y="0"/>
                    </a:lnTo>
                    <a:lnTo>
                      <a:pt x="158" y="0"/>
                    </a:lnTo>
                    <a:lnTo>
                      <a:pt x="168" y="0"/>
                    </a:lnTo>
                    <a:lnTo>
                      <a:pt x="173" y="0"/>
                    </a:lnTo>
                    <a:lnTo>
                      <a:pt x="182" y="0"/>
                    </a:lnTo>
                    <a:lnTo>
                      <a:pt x="192" y="6"/>
                    </a:lnTo>
                    <a:lnTo>
                      <a:pt x="197" y="6"/>
                    </a:lnTo>
                    <a:lnTo>
                      <a:pt x="206" y="6"/>
                    </a:lnTo>
                    <a:lnTo>
                      <a:pt x="216" y="11"/>
                    </a:lnTo>
                    <a:lnTo>
                      <a:pt x="226" y="11"/>
                    </a:lnTo>
                    <a:lnTo>
                      <a:pt x="230" y="11"/>
                    </a:lnTo>
                    <a:lnTo>
                      <a:pt x="240" y="11"/>
                    </a:lnTo>
                    <a:lnTo>
                      <a:pt x="245" y="11"/>
                    </a:lnTo>
                    <a:lnTo>
                      <a:pt x="254" y="16"/>
                    </a:lnTo>
                    <a:lnTo>
                      <a:pt x="259" y="16"/>
                    </a:lnTo>
                    <a:lnTo>
                      <a:pt x="264" y="16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3" name="Freeform 97">
                <a:extLst>
                  <a:ext uri="{FF2B5EF4-FFF2-40B4-BE49-F238E27FC236}">
                    <a16:creationId xmlns:a16="http://schemas.microsoft.com/office/drawing/2014/main" id="{84C34F75-5502-07A5-FCF2-D163BB00198B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2314" y="2746"/>
                <a:ext cx="522" cy="134"/>
              </a:xfrm>
              <a:custGeom>
                <a:avLst/>
                <a:gdLst>
                  <a:gd name="T0" fmla="*/ 522 w 522"/>
                  <a:gd name="T1" fmla="*/ 54 h 134"/>
                  <a:gd name="T2" fmla="*/ 412 w 522"/>
                  <a:gd name="T3" fmla="*/ 134 h 134"/>
                  <a:gd name="T4" fmla="*/ 0 w 522"/>
                  <a:gd name="T5" fmla="*/ 102 h 134"/>
                  <a:gd name="T6" fmla="*/ 148 w 522"/>
                  <a:gd name="T7" fmla="*/ 0 h 134"/>
                  <a:gd name="T8" fmla="*/ 167 w 522"/>
                  <a:gd name="T9" fmla="*/ 6 h 134"/>
                  <a:gd name="T10" fmla="*/ 191 w 522"/>
                  <a:gd name="T11" fmla="*/ 11 h 134"/>
                  <a:gd name="T12" fmla="*/ 215 w 522"/>
                  <a:gd name="T13" fmla="*/ 11 h 134"/>
                  <a:gd name="T14" fmla="*/ 239 w 522"/>
                  <a:gd name="T15" fmla="*/ 16 h 134"/>
                  <a:gd name="T16" fmla="*/ 263 w 522"/>
                  <a:gd name="T17" fmla="*/ 16 h 134"/>
                  <a:gd name="T18" fmla="*/ 287 w 522"/>
                  <a:gd name="T19" fmla="*/ 22 h 134"/>
                  <a:gd name="T20" fmla="*/ 311 w 522"/>
                  <a:gd name="T21" fmla="*/ 22 h 134"/>
                  <a:gd name="T22" fmla="*/ 335 w 522"/>
                  <a:gd name="T23" fmla="*/ 27 h 134"/>
                  <a:gd name="T24" fmla="*/ 359 w 522"/>
                  <a:gd name="T25" fmla="*/ 27 h 134"/>
                  <a:gd name="T26" fmla="*/ 383 w 522"/>
                  <a:gd name="T27" fmla="*/ 32 h 134"/>
                  <a:gd name="T28" fmla="*/ 407 w 522"/>
                  <a:gd name="T29" fmla="*/ 38 h 134"/>
                  <a:gd name="T30" fmla="*/ 431 w 522"/>
                  <a:gd name="T31" fmla="*/ 38 h 134"/>
                  <a:gd name="T32" fmla="*/ 455 w 522"/>
                  <a:gd name="T33" fmla="*/ 43 h 134"/>
                  <a:gd name="T34" fmla="*/ 474 w 522"/>
                  <a:gd name="T35" fmla="*/ 43 h 134"/>
                  <a:gd name="T36" fmla="*/ 498 w 522"/>
                  <a:gd name="T37" fmla="*/ 48 h 134"/>
                  <a:gd name="T38" fmla="*/ 522 w 522"/>
                  <a:gd name="T39" fmla="*/ 54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522" h="134">
                    <a:moveTo>
                      <a:pt x="522" y="54"/>
                    </a:moveTo>
                    <a:lnTo>
                      <a:pt x="412" y="134"/>
                    </a:lnTo>
                    <a:lnTo>
                      <a:pt x="0" y="102"/>
                    </a:lnTo>
                    <a:lnTo>
                      <a:pt x="148" y="0"/>
                    </a:lnTo>
                    <a:lnTo>
                      <a:pt x="167" y="6"/>
                    </a:lnTo>
                    <a:lnTo>
                      <a:pt x="191" y="11"/>
                    </a:lnTo>
                    <a:lnTo>
                      <a:pt x="215" y="11"/>
                    </a:lnTo>
                    <a:lnTo>
                      <a:pt x="239" y="16"/>
                    </a:lnTo>
                    <a:lnTo>
                      <a:pt x="263" y="16"/>
                    </a:lnTo>
                    <a:lnTo>
                      <a:pt x="287" y="22"/>
                    </a:lnTo>
                    <a:lnTo>
                      <a:pt x="311" y="22"/>
                    </a:lnTo>
                    <a:lnTo>
                      <a:pt x="335" y="27"/>
                    </a:lnTo>
                    <a:lnTo>
                      <a:pt x="359" y="27"/>
                    </a:lnTo>
                    <a:lnTo>
                      <a:pt x="383" y="32"/>
                    </a:lnTo>
                    <a:lnTo>
                      <a:pt x="407" y="38"/>
                    </a:lnTo>
                    <a:lnTo>
                      <a:pt x="431" y="38"/>
                    </a:lnTo>
                    <a:lnTo>
                      <a:pt x="455" y="43"/>
                    </a:lnTo>
                    <a:lnTo>
                      <a:pt x="474" y="43"/>
                    </a:lnTo>
                    <a:lnTo>
                      <a:pt x="498" y="48"/>
                    </a:lnTo>
                    <a:lnTo>
                      <a:pt x="522" y="54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4" name="Freeform 98">
                <a:extLst>
                  <a:ext uri="{FF2B5EF4-FFF2-40B4-BE49-F238E27FC236}">
                    <a16:creationId xmlns:a16="http://schemas.microsoft.com/office/drawing/2014/main" id="{572D417A-F927-DAFC-D5DF-6AC784EE55A2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2731" y="2800"/>
                <a:ext cx="206" cy="90"/>
              </a:xfrm>
              <a:custGeom>
                <a:avLst/>
                <a:gdLst>
                  <a:gd name="T0" fmla="*/ 95 w 206"/>
                  <a:gd name="T1" fmla="*/ 90 h 90"/>
                  <a:gd name="T2" fmla="*/ 0 w 206"/>
                  <a:gd name="T3" fmla="*/ 85 h 90"/>
                  <a:gd name="T4" fmla="*/ 110 w 206"/>
                  <a:gd name="T5" fmla="*/ 0 h 90"/>
                  <a:gd name="T6" fmla="*/ 206 w 206"/>
                  <a:gd name="T7" fmla="*/ 10 h 90"/>
                  <a:gd name="T8" fmla="*/ 95 w 206"/>
                  <a:gd name="T9" fmla="*/ 9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6" h="90">
                    <a:moveTo>
                      <a:pt x="95" y="90"/>
                    </a:moveTo>
                    <a:lnTo>
                      <a:pt x="0" y="85"/>
                    </a:lnTo>
                    <a:lnTo>
                      <a:pt x="110" y="0"/>
                    </a:lnTo>
                    <a:lnTo>
                      <a:pt x="206" y="10"/>
                    </a:lnTo>
                    <a:lnTo>
                      <a:pt x="95" y="90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5" name="Freeform 99">
                <a:extLst>
                  <a:ext uri="{FF2B5EF4-FFF2-40B4-BE49-F238E27FC236}">
                    <a16:creationId xmlns:a16="http://schemas.microsoft.com/office/drawing/2014/main" id="{5911E767-7DE5-F0C9-A7D2-D8E7F7C94585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2831" y="2810"/>
                <a:ext cx="221" cy="96"/>
              </a:xfrm>
              <a:custGeom>
                <a:avLst/>
                <a:gdLst>
                  <a:gd name="T0" fmla="*/ 221 w 221"/>
                  <a:gd name="T1" fmla="*/ 16 h 96"/>
                  <a:gd name="T2" fmla="*/ 216 w 221"/>
                  <a:gd name="T3" fmla="*/ 96 h 96"/>
                  <a:gd name="T4" fmla="*/ 0 w 221"/>
                  <a:gd name="T5" fmla="*/ 80 h 96"/>
                  <a:gd name="T6" fmla="*/ 110 w 221"/>
                  <a:gd name="T7" fmla="*/ 0 h 96"/>
                  <a:gd name="T8" fmla="*/ 221 w 221"/>
                  <a:gd name="T9" fmla="*/ 16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1" h="96">
                    <a:moveTo>
                      <a:pt x="221" y="16"/>
                    </a:moveTo>
                    <a:lnTo>
                      <a:pt x="216" y="96"/>
                    </a:lnTo>
                    <a:lnTo>
                      <a:pt x="0" y="80"/>
                    </a:lnTo>
                    <a:lnTo>
                      <a:pt x="110" y="0"/>
                    </a:lnTo>
                    <a:lnTo>
                      <a:pt x="221" y="16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6" name="Freeform 100">
                <a:extLst>
                  <a:ext uri="{FF2B5EF4-FFF2-40B4-BE49-F238E27FC236}">
                    <a16:creationId xmlns:a16="http://schemas.microsoft.com/office/drawing/2014/main" id="{4EC1BB9C-D975-1901-04EC-04B5D157202B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095" y="2837"/>
                <a:ext cx="14" cy="69"/>
              </a:xfrm>
              <a:custGeom>
                <a:avLst/>
                <a:gdLst>
                  <a:gd name="T0" fmla="*/ 14 w 14"/>
                  <a:gd name="T1" fmla="*/ 32 h 69"/>
                  <a:gd name="T2" fmla="*/ 14 w 14"/>
                  <a:gd name="T3" fmla="*/ 69 h 69"/>
                  <a:gd name="T4" fmla="*/ 9 w 14"/>
                  <a:gd name="T5" fmla="*/ 69 h 69"/>
                  <a:gd name="T6" fmla="*/ 5 w 14"/>
                  <a:gd name="T7" fmla="*/ 69 h 69"/>
                  <a:gd name="T8" fmla="*/ 5 w 14"/>
                  <a:gd name="T9" fmla="*/ 69 h 69"/>
                  <a:gd name="T10" fmla="*/ 0 w 14"/>
                  <a:gd name="T11" fmla="*/ 69 h 69"/>
                  <a:gd name="T12" fmla="*/ 0 w 14"/>
                  <a:gd name="T13" fmla="*/ 5 h 69"/>
                  <a:gd name="T14" fmla="*/ 5 w 14"/>
                  <a:gd name="T15" fmla="*/ 0 h 69"/>
                  <a:gd name="T16" fmla="*/ 9 w 14"/>
                  <a:gd name="T17" fmla="*/ 0 h 69"/>
                  <a:gd name="T18" fmla="*/ 14 w 14"/>
                  <a:gd name="T19" fmla="*/ 0 h 69"/>
                  <a:gd name="T20" fmla="*/ 14 w 14"/>
                  <a:gd name="T21" fmla="*/ 5 h 69"/>
                  <a:gd name="T22" fmla="*/ 14 w 14"/>
                  <a:gd name="T23" fmla="*/ 11 h 69"/>
                  <a:gd name="T24" fmla="*/ 14 w 14"/>
                  <a:gd name="T25" fmla="*/ 21 h 69"/>
                  <a:gd name="T26" fmla="*/ 14 w 14"/>
                  <a:gd name="T27" fmla="*/ 27 h 69"/>
                  <a:gd name="T28" fmla="*/ 14 w 14"/>
                  <a:gd name="T29" fmla="*/ 3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4" h="69">
                    <a:moveTo>
                      <a:pt x="14" y="32"/>
                    </a:moveTo>
                    <a:lnTo>
                      <a:pt x="14" y="69"/>
                    </a:lnTo>
                    <a:lnTo>
                      <a:pt x="9" y="69"/>
                    </a:lnTo>
                    <a:lnTo>
                      <a:pt x="5" y="69"/>
                    </a:lnTo>
                    <a:lnTo>
                      <a:pt x="5" y="69"/>
                    </a:lnTo>
                    <a:lnTo>
                      <a:pt x="0" y="69"/>
                    </a:lnTo>
                    <a:lnTo>
                      <a:pt x="0" y="5"/>
                    </a:lnTo>
                    <a:lnTo>
                      <a:pt x="5" y="0"/>
                    </a:lnTo>
                    <a:lnTo>
                      <a:pt x="9" y="0"/>
                    </a:lnTo>
                    <a:lnTo>
                      <a:pt x="14" y="0"/>
                    </a:lnTo>
                    <a:lnTo>
                      <a:pt x="14" y="5"/>
                    </a:lnTo>
                    <a:lnTo>
                      <a:pt x="14" y="11"/>
                    </a:lnTo>
                    <a:lnTo>
                      <a:pt x="14" y="21"/>
                    </a:lnTo>
                    <a:lnTo>
                      <a:pt x="14" y="27"/>
                    </a:lnTo>
                    <a:lnTo>
                      <a:pt x="14" y="32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7" name="Freeform 101">
                <a:extLst>
                  <a:ext uri="{FF2B5EF4-FFF2-40B4-BE49-F238E27FC236}">
                    <a16:creationId xmlns:a16="http://schemas.microsoft.com/office/drawing/2014/main" id="{0A436A21-6289-0FE6-B9F9-79424F87FE9A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2050" y="2842"/>
                <a:ext cx="53" cy="6"/>
              </a:xfrm>
              <a:custGeom>
                <a:avLst/>
                <a:gdLst>
                  <a:gd name="T0" fmla="*/ 53 w 53"/>
                  <a:gd name="T1" fmla="*/ 6 h 6"/>
                  <a:gd name="T2" fmla="*/ 43 w 53"/>
                  <a:gd name="T3" fmla="*/ 6 h 6"/>
                  <a:gd name="T4" fmla="*/ 38 w 53"/>
                  <a:gd name="T5" fmla="*/ 6 h 6"/>
                  <a:gd name="T6" fmla="*/ 34 w 53"/>
                  <a:gd name="T7" fmla="*/ 6 h 6"/>
                  <a:gd name="T8" fmla="*/ 24 w 53"/>
                  <a:gd name="T9" fmla="*/ 6 h 6"/>
                  <a:gd name="T10" fmla="*/ 19 w 53"/>
                  <a:gd name="T11" fmla="*/ 6 h 6"/>
                  <a:gd name="T12" fmla="*/ 14 w 53"/>
                  <a:gd name="T13" fmla="*/ 6 h 6"/>
                  <a:gd name="T14" fmla="*/ 5 w 53"/>
                  <a:gd name="T15" fmla="*/ 6 h 6"/>
                  <a:gd name="T16" fmla="*/ 0 w 53"/>
                  <a:gd name="T17" fmla="*/ 6 h 6"/>
                  <a:gd name="T18" fmla="*/ 5 w 53"/>
                  <a:gd name="T19" fmla="*/ 6 h 6"/>
                  <a:gd name="T20" fmla="*/ 5 w 53"/>
                  <a:gd name="T21" fmla="*/ 0 h 6"/>
                  <a:gd name="T22" fmla="*/ 10 w 53"/>
                  <a:gd name="T23" fmla="*/ 0 h 6"/>
                  <a:gd name="T24" fmla="*/ 14 w 53"/>
                  <a:gd name="T25" fmla="*/ 0 h 6"/>
                  <a:gd name="T26" fmla="*/ 14 w 53"/>
                  <a:gd name="T27" fmla="*/ 0 h 6"/>
                  <a:gd name="T28" fmla="*/ 19 w 53"/>
                  <a:gd name="T29" fmla="*/ 0 h 6"/>
                  <a:gd name="T30" fmla="*/ 19 w 53"/>
                  <a:gd name="T31" fmla="*/ 0 h 6"/>
                  <a:gd name="T32" fmla="*/ 24 w 53"/>
                  <a:gd name="T33" fmla="*/ 0 h 6"/>
                  <a:gd name="T34" fmla="*/ 29 w 53"/>
                  <a:gd name="T35" fmla="*/ 0 h 6"/>
                  <a:gd name="T36" fmla="*/ 29 w 53"/>
                  <a:gd name="T37" fmla="*/ 0 h 6"/>
                  <a:gd name="T38" fmla="*/ 34 w 53"/>
                  <a:gd name="T39" fmla="*/ 0 h 6"/>
                  <a:gd name="T40" fmla="*/ 38 w 53"/>
                  <a:gd name="T41" fmla="*/ 0 h 6"/>
                  <a:gd name="T42" fmla="*/ 43 w 53"/>
                  <a:gd name="T43" fmla="*/ 0 h 6"/>
                  <a:gd name="T44" fmla="*/ 43 w 53"/>
                  <a:gd name="T45" fmla="*/ 0 h 6"/>
                  <a:gd name="T46" fmla="*/ 48 w 53"/>
                  <a:gd name="T47" fmla="*/ 6 h 6"/>
                  <a:gd name="T48" fmla="*/ 53 w 53"/>
                  <a:gd name="T49" fmla="*/ 6 h 6"/>
                  <a:gd name="T50" fmla="*/ 53 w 53"/>
                  <a:gd name="T5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3" h="6">
                    <a:moveTo>
                      <a:pt x="53" y="6"/>
                    </a:moveTo>
                    <a:lnTo>
                      <a:pt x="43" y="6"/>
                    </a:lnTo>
                    <a:lnTo>
                      <a:pt x="38" y="6"/>
                    </a:lnTo>
                    <a:lnTo>
                      <a:pt x="34" y="6"/>
                    </a:lnTo>
                    <a:lnTo>
                      <a:pt x="24" y="6"/>
                    </a:lnTo>
                    <a:lnTo>
                      <a:pt x="19" y="6"/>
                    </a:lnTo>
                    <a:lnTo>
                      <a:pt x="14" y="6"/>
                    </a:lnTo>
                    <a:lnTo>
                      <a:pt x="5" y="6"/>
                    </a:lnTo>
                    <a:lnTo>
                      <a:pt x="0" y="6"/>
                    </a:lnTo>
                    <a:lnTo>
                      <a:pt x="5" y="6"/>
                    </a:lnTo>
                    <a:lnTo>
                      <a:pt x="5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4" y="0"/>
                    </a:lnTo>
                    <a:lnTo>
                      <a:pt x="29" y="0"/>
                    </a:lnTo>
                    <a:lnTo>
                      <a:pt x="29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3" y="0"/>
                    </a:lnTo>
                    <a:lnTo>
                      <a:pt x="43" y="0"/>
                    </a:lnTo>
                    <a:lnTo>
                      <a:pt x="48" y="6"/>
                    </a:lnTo>
                    <a:lnTo>
                      <a:pt x="53" y="6"/>
                    </a:lnTo>
                    <a:lnTo>
                      <a:pt x="53" y="6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8" name="Freeform 102">
                <a:extLst>
                  <a:ext uri="{FF2B5EF4-FFF2-40B4-BE49-F238E27FC236}">
                    <a16:creationId xmlns:a16="http://schemas.microsoft.com/office/drawing/2014/main" id="{C770911F-9F4E-9874-C634-3F85BF16926E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2156" y="2842"/>
                <a:ext cx="891" cy="80"/>
              </a:xfrm>
              <a:custGeom>
                <a:avLst/>
                <a:gdLst>
                  <a:gd name="T0" fmla="*/ 891 w 891"/>
                  <a:gd name="T1" fmla="*/ 70 h 80"/>
                  <a:gd name="T2" fmla="*/ 891 w 891"/>
                  <a:gd name="T3" fmla="*/ 80 h 80"/>
                  <a:gd name="T4" fmla="*/ 0 w 891"/>
                  <a:gd name="T5" fmla="*/ 16 h 80"/>
                  <a:gd name="T6" fmla="*/ 0 w 891"/>
                  <a:gd name="T7" fmla="*/ 0 h 80"/>
                  <a:gd name="T8" fmla="*/ 891 w 891"/>
                  <a:gd name="T9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91" h="80">
                    <a:moveTo>
                      <a:pt x="891" y="70"/>
                    </a:moveTo>
                    <a:lnTo>
                      <a:pt x="891" y="80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891" y="70"/>
                    </a:lnTo>
                    <a:close/>
                  </a:path>
                </a:pathLst>
              </a:custGeom>
              <a:solidFill>
                <a:srgbClr val="9926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69" name="Freeform 103">
                <a:extLst>
                  <a:ext uri="{FF2B5EF4-FFF2-40B4-BE49-F238E27FC236}">
                    <a16:creationId xmlns:a16="http://schemas.microsoft.com/office/drawing/2014/main" id="{B3B483E0-DD2C-712D-8290-EA5A906CEF96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3095" y="2912"/>
                <a:ext cx="5" cy="5"/>
              </a:xfrm>
              <a:custGeom>
                <a:avLst/>
                <a:gdLst>
                  <a:gd name="T0" fmla="*/ 0 w 5"/>
                  <a:gd name="T1" fmla="*/ 5 h 5"/>
                  <a:gd name="T2" fmla="*/ 0 w 5"/>
                  <a:gd name="T3" fmla="*/ 0 h 5"/>
                  <a:gd name="T4" fmla="*/ 5 w 5"/>
                  <a:gd name="T5" fmla="*/ 0 h 5"/>
                  <a:gd name="T6" fmla="*/ 0 w 5"/>
                  <a:gd name="T7" fmla="*/ 5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5">
                    <a:moveTo>
                      <a:pt x="0" y="5"/>
                    </a:moveTo>
                    <a:lnTo>
                      <a:pt x="0" y="0"/>
                    </a:lnTo>
                    <a:lnTo>
                      <a:pt x="5" y="0"/>
                    </a:lnTo>
                    <a:lnTo>
                      <a:pt x="0" y="5"/>
                    </a:lnTo>
                    <a:close/>
                  </a:path>
                </a:pathLst>
              </a:custGeom>
              <a:solidFill>
                <a:srgbClr val="C0C0C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ZA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126" name="Groupe 212">
            <a:extLst>
              <a:ext uri="{FF2B5EF4-FFF2-40B4-BE49-F238E27FC236}">
                <a16:creationId xmlns:a16="http://schemas.microsoft.com/office/drawing/2014/main" id="{B88B289A-D052-F9CF-AEEF-29FFD8D11506}"/>
              </a:ext>
            </a:extLst>
          </p:cNvPr>
          <p:cNvGrpSpPr/>
          <p:nvPr/>
        </p:nvGrpSpPr>
        <p:grpSpPr>
          <a:xfrm>
            <a:off x="276562" y="1650353"/>
            <a:ext cx="4565451" cy="1261397"/>
            <a:chOff x="120069" y="1369129"/>
            <a:chExt cx="4565451" cy="1261397"/>
          </a:xfrm>
        </p:grpSpPr>
        <p:sp>
          <p:nvSpPr>
            <p:cNvPr id="127" name="Parenthèses 207">
              <a:extLst>
                <a:ext uri="{FF2B5EF4-FFF2-40B4-BE49-F238E27FC236}">
                  <a16:creationId xmlns:a16="http://schemas.microsoft.com/office/drawing/2014/main" id="{E1A6854E-7583-7042-302F-1BBD08A3CE13}"/>
                </a:ext>
              </a:extLst>
            </p:cNvPr>
            <p:cNvSpPr/>
            <p:nvPr/>
          </p:nvSpPr>
          <p:spPr>
            <a:xfrm>
              <a:off x="120069" y="1369129"/>
              <a:ext cx="3290788" cy="1261397"/>
            </a:xfrm>
            <a:prstGeom prst="bracketPair">
              <a:avLst/>
            </a:prstGeom>
            <a:noFill/>
            <a:ln>
              <a:solidFill>
                <a:srgbClr val="06065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28" name="Groupe 205">
              <a:extLst>
                <a:ext uri="{FF2B5EF4-FFF2-40B4-BE49-F238E27FC236}">
                  <a16:creationId xmlns:a16="http://schemas.microsoft.com/office/drawing/2014/main" id="{60A6F609-B760-5AA8-0916-0BD32D58F195}"/>
                </a:ext>
              </a:extLst>
            </p:cNvPr>
            <p:cNvGrpSpPr/>
            <p:nvPr/>
          </p:nvGrpSpPr>
          <p:grpSpPr>
            <a:xfrm>
              <a:off x="281975" y="1454378"/>
              <a:ext cx="4403545" cy="1097993"/>
              <a:chOff x="281975" y="1454378"/>
              <a:chExt cx="4403545" cy="1097993"/>
            </a:xfrm>
          </p:grpSpPr>
          <p:grpSp>
            <p:nvGrpSpPr>
              <p:cNvPr id="129" name="Groupe 197">
                <a:extLst>
                  <a:ext uri="{FF2B5EF4-FFF2-40B4-BE49-F238E27FC236}">
                    <a16:creationId xmlns:a16="http://schemas.microsoft.com/office/drawing/2014/main" id="{26683806-2229-AA0A-678A-0DFDA3D0A898}"/>
                  </a:ext>
                </a:extLst>
              </p:cNvPr>
              <p:cNvGrpSpPr/>
              <p:nvPr/>
            </p:nvGrpSpPr>
            <p:grpSpPr>
              <a:xfrm>
                <a:off x="3577362" y="1542707"/>
                <a:ext cx="1108158" cy="1009664"/>
                <a:chOff x="4062385" y="2829110"/>
                <a:chExt cx="1108158" cy="1009664"/>
              </a:xfrm>
            </p:grpSpPr>
            <p:sp>
              <p:nvSpPr>
                <p:cNvPr id="132" name="Subtitle 2">
                  <a:extLst>
                    <a:ext uri="{FF2B5EF4-FFF2-40B4-BE49-F238E27FC236}">
                      <a16:creationId xmlns:a16="http://schemas.microsoft.com/office/drawing/2014/main" id="{C309C3B2-C1DE-0C16-ACE8-59E674BACAB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062385" y="2829110"/>
                  <a:ext cx="1108158" cy="422917"/>
                </a:xfrm>
                <a:prstGeom prst="rect">
                  <a:avLst/>
                </a:prstGeom>
              </p:spPr>
              <p:txBody>
                <a:bodyPr vert="horz" lIns="243744" tIns="121869" rIns="243744" bIns="121869" rtlCol="0" anchor="ctr">
                  <a:noAutofit/>
                </a:bodyPr>
                <a:lstStyle>
                  <a:defPPr>
                    <a:defRPr lang="fr-FR"/>
                  </a:defPPr>
                  <a:lvl1pPr indent="0" algn="ctr" defTabSz="457200">
                    <a:spcBef>
                      <a:spcPct val="20000"/>
                    </a:spcBef>
                    <a:buFont typeface="Arial"/>
                    <a:buNone/>
                    <a:defRPr b="1">
                      <a:solidFill>
                        <a:schemeClr val="tx2">
                          <a:lumMod val="75000"/>
                        </a:schemeClr>
                      </a:solidFill>
                      <a:latin typeface="Raleway Medium"/>
                      <a:cs typeface="Lato Regular"/>
                    </a:defRPr>
                  </a:lvl1pPr>
                  <a:lvl2pPr marL="742950" indent="-285750" defTabSz="457200">
                    <a:spcBef>
                      <a:spcPct val="20000"/>
                    </a:spcBef>
                    <a:buFont typeface="Arial"/>
                    <a:buChar char="–"/>
                    <a:defRPr sz="2800"/>
                  </a:lvl2pPr>
                  <a:lvl3pPr marL="1143000" indent="-228600" defTabSz="457200">
                    <a:spcBef>
                      <a:spcPct val="20000"/>
                    </a:spcBef>
                    <a:buFont typeface="Arial"/>
                    <a:buChar char="•"/>
                    <a:defRPr sz="2400"/>
                  </a:lvl3pPr>
                  <a:lvl4pPr marL="1600200" indent="-228600" defTabSz="457200">
                    <a:spcBef>
                      <a:spcPct val="20000"/>
                    </a:spcBef>
                    <a:buFont typeface="Arial"/>
                    <a:buChar char="–"/>
                    <a:defRPr sz="2000"/>
                  </a:lvl4pPr>
                  <a:lvl5pPr marL="2057400" indent="-228600" defTabSz="457200">
                    <a:spcBef>
                      <a:spcPct val="20000"/>
                    </a:spcBef>
                    <a:buFont typeface="Arial"/>
                    <a:buChar char="»"/>
                    <a:defRPr sz="2000"/>
                  </a:lvl5pPr>
                  <a:lvl6pPr marL="25146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6pPr>
                  <a:lvl7pPr marL="29718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7pPr>
                  <a:lvl8pPr marL="34290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8pPr>
                  <a:lvl9pPr marL="38862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9pPr>
                </a:lstStyle>
                <a:p>
                  <a:r>
                    <a:rPr lang="en-US" dirty="0">
                      <a:solidFill>
                        <a:srgbClr val="008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6</a:t>
                  </a:r>
                </a:p>
              </p:txBody>
            </p:sp>
            <p:pic>
              <p:nvPicPr>
                <p:cNvPr id="133" name="Image 186">
                  <a:extLst>
                    <a:ext uri="{FF2B5EF4-FFF2-40B4-BE49-F238E27FC236}">
                      <a16:creationId xmlns:a16="http://schemas.microsoft.com/office/drawing/2014/main" id="{E535C6B4-13B9-0D12-8665-EF538D7955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85576" y="3192443"/>
                  <a:ext cx="861775" cy="646331"/>
                </a:xfrm>
                <a:prstGeom prst="rect">
                  <a:avLst/>
                </a:prstGeom>
              </p:spPr>
            </p:pic>
          </p:grpSp>
          <p:pic>
            <p:nvPicPr>
              <p:cNvPr id="130" name="Image 188">
                <a:extLst>
                  <a:ext uri="{FF2B5EF4-FFF2-40B4-BE49-F238E27FC236}">
                    <a16:creationId xmlns:a16="http://schemas.microsoft.com/office/drawing/2014/main" id="{F86CF2B8-1D13-F496-348B-BD20348D447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85546" y="1454378"/>
                <a:ext cx="770298" cy="1056933"/>
              </a:xfrm>
              <a:prstGeom prst="rect">
                <a:avLst/>
              </a:prstGeom>
            </p:spPr>
          </p:pic>
          <p:pic>
            <p:nvPicPr>
              <p:cNvPr id="131" name="Image 192">
                <a:extLst>
                  <a:ext uri="{FF2B5EF4-FFF2-40B4-BE49-F238E27FC236}">
                    <a16:creationId xmlns:a16="http://schemas.microsoft.com/office/drawing/2014/main" id="{91A89A9A-D9BA-BCE7-7149-9AB6454827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81975" y="1579574"/>
                <a:ext cx="2000117" cy="687760"/>
              </a:xfrm>
              <a:prstGeom prst="rect">
                <a:avLst/>
              </a:prstGeom>
            </p:spPr>
          </p:pic>
        </p:grpSp>
      </p:grpSp>
      <p:sp>
        <p:nvSpPr>
          <p:cNvPr id="134" name="ZoneTexte 199">
            <a:extLst>
              <a:ext uri="{FF2B5EF4-FFF2-40B4-BE49-F238E27FC236}">
                <a16:creationId xmlns:a16="http://schemas.microsoft.com/office/drawing/2014/main" id="{EA5C5011-A754-FD6A-C002-A12AC9B50643}"/>
              </a:ext>
            </a:extLst>
          </p:cNvPr>
          <p:cNvSpPr txBox="1"/>
          <p:nvPr/>
        </p:nvSpPr>
        <p:spPr>
          <a:xfrm>
            <a:off x="508155" y="4985785"/>
            <a:ext cx="2627628" cy="1396127"/>
          </a:xfrm>
          <a:prstGeom prst="roundRect">
            <a:avLst/>
          </a:prstGeom>
          <a:solidFill>
            <a:srgbClr val="23A1AA"/>
          </a:solidFill>
        </p:spPr>
        <p:txBody>
          <a:bodyPr wrap="square" rtlCol="0">
            <a:spAutoFit/>
          </a:bodyPr>
          <a:lstStyle/>
          <a:p>
            <a:pPr algn="r"/>
            <a:r>
              <a:rPr lang="fr-FR" sz="4800" dirty="0"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fr-F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fr-FR" sz="1400" dirty="0">
                <a:latin typeface="Arial" panose="020B0604020202020204" pitchFamily="34" charset="0"/>
                <a:cs typeface="Arial" panose="020B0604020202020204" pitchFamily="34" charset="0"/>
              </a:rPr>
              <a:t>ARTICLES DE REVUES INTERNATIONALES</a:t>
            </a:r>
          </a:p>
        </p:txBody>
      </p:sp>
      <p:sp>
        <p:nvSpPr>
          <p:cNvPr id="135" name="ZoneTexte 200">
            <a:extLst>
              <a:ext uri="{FF2B5EF4-FFF2-40B4-BE49-F238E27FC236}">
                <a16:creationId xmlns:a16="http://schemas.microsoft.com/office/drawing/2014/main" id="{5B535CFB-9B5D-4E0F-016D-70E23CAF5997}"/>
              </a:ext>
            </a:extLst>
          </p:cNvPr>
          <p:cNvSpPr txBox="1"/>
          <p:nvPr/>
        </p:nvSpPr>
        <p:spPr>
          <a:xfrm>
            <a:off x="9739379" y="4990368"/>
            <a:ext cx="2231448" cy="1396127"/>
          </a:xfrm>
          <a:prstGeom prst="roundRect">
            <a:avLst/>
          </a:prstGeom>
          <a:solidFill>
            <a:srgbClr val="23A1AA"/>
          </a:solidFill>
        </p:spPr>
        <p:txBody>
          <a:bodyPr wrap="square" rtlCol="0">
            <a:spAutoFit/>
          </a:bodyPr>
          <a:lstStyle/>
          <a:p>
            <a:r>
              <a:rPr lang="fr-FR" sz="4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fr-FR" sz="32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4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CATIONS EN CONGRES</a:t>
            </a:r>
          </a:p>
        </p:txBody>
      </p:sp>
      <p:pic>
        <p:nvPicPr>
          <p:cNvPr id="136" name="Image 202">
            <a:extLst>
              <a:ext uri="{FF2B5EF4-FFF2-40B4-BE49-F238E27FC236}">
                <a16:creationId xmlns:a16="http://schemas.microsoft.com/office/drawing/2014/main" id="{918A574D-5CF8-7E12-FCB7-AE5FD0694675}"/>
              </a:ext>
            </a:extLst>
          </p:cNvPr>
          <p:cNvPicPr>
            <a:picLocks noChangeAspect="1"/>
          </p:cNvPicPr>
          <p:nvPr/>
        </p:nvPicPr>
        <p:blipFill>
          <a:blip r:embed="rId9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878533" y="4857034"/>
            <a:ext cx="1492235" cy="1492235"/>
          </a:xfrm>
          <a:prstGeom prst="rect">
            <a:avLst/>
          </a:prstGeom>
        </p:spPr>
      </p:pic>
      <p:pic>
        <p:nvPicPr>
          <p:cNvPr id="137" name="Image 203">
            <a:extLst>
              <a:ext uri="{FF2B5EF4-FFF2-40B4-BE49-F238E27FC236}">
                <a16:creationId xmlns:a16="http://schemas.microsoft.com/office/drawing/2014/main" id="{58CC5B85-F1DC-0D66-B6B2-7E4324D114FB}"/>
              </a:ext>
            </a:extLst>
          </p:cNvPr>
          <p:cNvPicPr>
            <a:picLocks noChangeAspect="1"/>
          </p:cNvPicPr>
          <p:nvPr/>
        </p:nvPicPr>
        <p:blipFill>
          <a:blip r:embed="rId9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 flipH="1">
            <a:off x="3664329" y="4877985"/>
            <a:ext cx="1492235" cy="1492235"/>
          </a:xfrm>
          <a:prstGeom prst="rect">
            <a:avLst/>
          </a:prstGeom>
        </p:spPr>
      </p:pic>
      <p:grpSp>
        <p:nvGrpSpPr>
          <p:cNvPr id="138" name="Groupe 211">
            <a:extLst>
              <a:ext uri="{FF2B5EF4-FFF2-40B4-BE49-F238E27FC236}">
                <a16:creationId xmlns:a16="http://schemas.microsoft.com/office/drawing/2014/main" id="{3FB71CD3-C072-3B30-5B04-F1B7DAEB7BD5}"/>
              </a:ext>
            </a:extLst>
          </p:cNvPr>
          <p:cNvGrpSpPr/>
          <p:nvPr/>
        </p:nvGrpSpPr>
        <p:grpSpPr>
          <a:xfrm>
            <a:off x="7150396" y="887183"/>
            <a:ext cx="4393904" cy="1296536"/>
            <a:chOff x="7266993" y="530077"/>
            <a:chExt cx="4393904" cy="1296536"/>
          </a:xfrm>
        </p:grpSpPr>
        <p:grpSp>
          <p:nvGrpSpPr>
            <p:cNvPr id="139" name="Groupe 206">
              <a:extLst>
                <a:ext uri="{FF2B5EF4-FFF2-40B4-BE49-F238E27FC236}">
                  <a16:creationId xmlns:a16="http://schemas.microsoft.com/office/drawing/2014/main" id="{ED374F69-BFA1-9025-DEBC-250E9BCA8561}"/>
                </a:ext>
              </a:extLst>
            </p:cNvPr>
            <p:cNvGrpSpPr/>
            <p:nvPr/>
          </p:nvGrpSpPr>
          <p:grpSpPr>
            <a:xfrm>
              <a:off x="7266993" y="530077"/>
              <a:ext cx="4138164" cy="1296536"/>
              <a:chOff x="6904979" y="287974"/>
              <a:chExt cx="4138164" cy="1296536"/>
            </a:xfrm>
          </p:grpSpPr>
          <p:grpSp>
            <p:nvGrpSpPr>
              <p:cNvPr id="141" name="Groupe 196">
                <a:extLst>
                  <a:ext uri="{FF2B5EF4-FFF2-40B4-BE49-F238E27FC236}">
                    <a16:creationId xmlns:a16="http://schemas.microsoft.com/office/drawing/2014/main" id="{0B8C0207-6B98-ABF1-9542-BCF9FF56B4A5}"/>
                  </a:ext>
                </a:extLst>
              </p:cNvPr>
              <p:cNvGrpSpPr/>
              <p:nvPr/>
            </p:nvGrpSpPr>
            <p:grpSpPr>
              <a:xfrm>
                <a:off x="6904979" y="287974"/>
                <a:ext cx="1108158" cy="998453"/>
                <a:chOff x="3425292" y="980657"/>
                <a:chExt cx="1108158" cy="998453"/>
              </a:xfrm>
            </p:grpSpPr>
            <p:sp>
              <p:nvSpPr>
                <p:cNvPr id="145" name="Subtitle 2">
                  <a:extLst>
                    <a:ext uri="{FF2B5EF4-FFF2-40B4-BE49-F238E27FC236}">
                      <a16:creationId xmlns:a16="http://schemas.microsoft.com/office/drawing/2014/main" id="{DF968192-FB37-2BB9-9C99-50BDE077D6B1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3425292" y="980657"/>
                  <a:ext cx="1108158" cy="422917"/>
                </a:xfrm>
                <a:prstGeom prst="rect">
                  <a:avLst/>
                </a:prstGeom>
              </p:spPr>
              <p:txBody>
                <a:bodyPr vert="horz" lIns="243744" tIns="121869" rIns="243744" bIns="121869" rtlCol="0" anchor="ctr">
                  <a:noAutofit/>
                </a:bodyPr>
                <a:lstStyle>
                  <a:defPPr>
                    <a:defRPr lang="fr-FR"/>
                  </a:defPPr>
                  <a:lvl1pPr indent="0" algn="ctr" defTabSz="457200">
                    <a:spcBef>
                      <a:spcPct val="20000"/>
                    </a:spcBef>
                    <a:buFont typeface="Arial"/>
                    <a:buNone/>
                    <a:defRPr b="1">
                      <a:solidFill>
                        <a:schemeClr val="tx2">
                          <a:lumMod val="75000"/>
                        </a:schemeClr>
                      </a:solidFill>
                      <a:latin typeface="Raleway Medium"/>
                      <a:cs typeface="Lato Regular"/>
                    </a:defRPr>
                  </a:lvl1pPr>
                  <a:lvl2pPr marL="742950" indent="-285750" defTabSz="457200">
                    <a:spcBef>
                      <a:spcPct val="20000"/>
                    </a:spcBef>
                    <a:buFont typeface="Arial"/>
                    <a:buChar char="–"/>
                    <a:defRPr sz="2800"/>
                  </a:lvl2pPr>
                  <a:lvl3pPr marL="1143000" indent="-228600" defTabSz="457200">
                    <a:spcBef>
                      <a:spcPct val="20000"/>
                    </a:spcBef>
                    <a:buFont typeface="Arial"/>
                    <a:buChar char="•"/>
                    <a:defRPr sz="2400"/>
                  </a:lvl3pPr>
                  <a:lvl4pPr marL="1600200" indent="-228600" defTabSz="457200">
                    <a:spcBef>
                      <a:spcPct val="20000"/>
                    </a:spcBef>
                    <a:buFont typeface="Arial"/>
                    <a:buChar char="–"/>
                    <a:defRPr sz="2000"/>
                  </a:lvl4pPr>
                  <a:lvl5pPr marL="2057400" indent="-228600" defTabSz="457200">
                    <a:spcBef>
                      <a:spcPct val="20000"/>
                    </a:spcBef>
                    <a:buFont typeface="Arial"/>
                    <a:buChar char="»"/>
                    <a:defRPr sz="2000"/>
                  </a:lvl5pPr>
                  <a:lvl6pPr marL="25146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6pPr>
                  <a:lvl7pPr marL="29718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7pPr>
                  <a:lvl8pPr marL="34290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8pPr>
                  <a:lvl9pPr marL="38862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9pPr>
                </a:lstStyle>
                <a:p>
                  <a:r>
                    <a:rPr lang="en-US" dirty="0">
                      <a:solidFill>
                        <a:srgbClr val="008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5</a:t>
                  </a:r>
                </a:p>
              </p:txBody>
            </p:sp>
            <p:pic>
              <p:nvPicPr>
                <p:cNvPr id="146" name="Image 180">
                  <a:extLst>
                    <a:ext uri="{FF2B5EF4-FFF2-40B4-BE49-F238E27FC236}">
                      <a16:creationId xmlns:a16="http://schemas.microsoft.com/office/drawing/2014/main" id="{1812C1ED-2FF7-81A4-55B1-B2924C2003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616602" y="1402723"/>
                  <a:ext cx="815080" cy="576387"/>
                </a:xfrm>
                <a:prstGeom prst="rect">
                  <a:avLst/>
                </a:prstGeom>
              </p:spPr>
            </p:pic>
          </p:grpSp>
          <p:pic>
            <p:nvPicPr>
              <p:cNvPr id="142" name="Image 187">
                <a:extLst>
                  <a:ext uri="{FF2B5EF4-FFF2-40B4-BE49-F238E27FC236}">
                    <a16:creationId xmlns:a16="http://schemas.microsoft.com/office/drawing/2014/main" id="{7138A52F-7BFA-E344-BE6B-0F79F4D5DB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331298" y="377659"/>
                <a:ext cx="787870" cy="1081042"/>
              </a:xfrm>
              <a:prstGeom prst="rect">
                <a:avLst/>
              </a:prstGeom>
            </p:spPr>
          </p:pic>
          <p:pic>
            <p:nvPicPr>
              <p:cNvPr id="143" name="Image 190">
                <a:extLst>
                  <a:ext uri="{FF2B5EF4-FFF2-40B4-BE49-F238E27FC236}">
                    <a16:creationId xmlns:a16="http://schemas.microsoft.com/office/drawing/2014/main" id="{8FAF4D4C-D8BD-2F19-67C3-7591EEC61E5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377942" y="397785"/>
                <a:ext cx="1477029" cy="463823"/>
              </a:xfrm>
              <a:prstGeom prst="rect">
                <a:avLst/>
              </a:prstGeom>
            </p:spPr>
          </p:pic>
          <p:pic>
            <p:nvPicPr>
              <p:cNvPr id="144" name="Image 191">
                <a:extLst>
                  <a:ext uri="{FF2B5EF4-FFF2-40B4-BE49-F238E27FC236}">
                    <a16:creationId xmlns:a16="http://schemas.microsoft.com/office/drawing/2014/main" id="{124B928F-B011-876C-F539-637CA8BC20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433988" y="1043616"/>
                <a:ext cx="1609155" cy="540894"/>
              </a:xfrm>
              <a:prstGeom prst="rect">
                <a:avLst/>
              </a:prstGeom>
            </p:spPr>
          </p:pic>
        </p:grpSp>
        <p:sp>
          <p:nvSpPr>
            <p:cNvPr id="140" name="Parenthèses 208">
              <a:extLst>
                <a:ext uri="{FF2B5EF4-FFF2-40B4-BE49-F238E27FC236}">
                  <a16:creationId xmlns:a16="http://schemas.microsoft.com/office/drawing/2014/main" id="{D9772EF1-1BE6-6A31-9F38-0E3C1B802268}"/>
                </a:ext>
              </a:extLst>
            </p:cNvPr>
            <p:cNvSpPr/>
            <p:nvPr/>
          </p:nvSpPr>
          <p:spPr>
            <a:xfrm>
              <a:off x="8370109" y="533158"/>
              <a:ext cx="3290788" cy="1261397"/>
            </a:xfrm>
            <a:prstGeom prst="bracketPair">
              <a:avLst/>
            </a:prstGeom>
            <a:noFill/>
            <a:ln>
              <a:solidFill>
                <a:srgbClr val="06065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7" name="Groupe 213">
            <a:extLst>
              <a:ext uri="{FF2B5EF4-FFF2-40B4-BE49-F238E27FC236}">
                <a16:creationId xmlns:a16="http://schemas.microsoft.com/office/drawing/2014/main" id="{0EA227E8-F252-0129-2696-7BD13812D51F}"/>
              </a:ext>
            </a:extLst>
          </p:cNvPr>
          <p:cNvGrpSpPr/>
          <p:nvPr/>
        </p:nvGrpSpPr>
        <p:grpSpPr>
          <a:xfrm>
            <a:off x="7116010" y="3230126"/>
            <a:ext cx="4428290" cy="1268331"/>
            <a:chOff x="6976867" y="2932162"/>
            <a:chExt cx="4428290" cy="1268331"/>
          </a:xfrm>
        </p:grpSpPr>
        <p:grpSp>
          <p:nvGrpSpPr>
            <p:cNvPr id="148" name="Groupe 204">
              <a:extLst>
                <a:ext uri="{FF2B5EF4-FFF2-40B4-BE49-F238E27FC236}">
                  <a16:creationId xmlns:a16="http://schemas.microsoft.com/office/drawing/2014/main" id="{BD919D8E-F2A0-4AF4-FAAC-8C6ED05854DF}"/>
                </a:ext>
              </a:extLst>
            </p:cNvPr>
            <p:cNvGrpSpPr/>
            <p:nvPr/>
          </p:nvGrpSpPr>
          <p:grpSpPr>
            <a:xfrm>
              <a:off x="6976867" y="2932162"/>
              <a:ext cx="4283429" cy="1241461"/>
              <a:chOff x="7142463" y="3093324"/>
              <a:chExt cx="4283429" cy="1241461"/>
            </a:xfrm>
          </p:grpSpPr>
          <p:grpSp>
            <p:nvGrpSpPr>
              <p:cNvPr id="150" name="Groupe 198">
                <a:extLst>
                  <a:ext uri="{FF2B5EF4-FFF2-40B4-BE49-F238E27FC236}">
                    <a16:creationId xmlns:a16="http://schemas.microsoft.com/office/drawing/2014/main" id="{7725D9EA-4107-9160-AEE0-5CE653A59249}"/>
                  </a:ext>
                </a:extLst>
              </p:cNvPr>
              <p:cNvGrpSpPr/>
              <p:nvPr/>
            </p:nvGrpSpPr>
            <p:grpSpPr>
              <a:xfrm>
                <a:off x="7142463" y="3093324"/>
                <a:ext cx="1075483" cy="1003367"/>
                <a:chOff x="4722809" y="4891829"/>
                <a:chExt cx="1075483" cy="1003367"/>
              </a:xfrm>
            </p:grpSpPr>
            <p:sp>
              <p:nvSpPr>
                <p:cNvPr id="154" name="Subtitle 2">
                  <a:extLst>
                    <a:ext uri="{FF2B5EF4-FFF2-40B4-BE49-F238E27FC236}">
                      <a16:creationId xmlns:a16="http://schemas.microsoft.com/office/drawing/2014/main" id="{CF273344-B61A-2F71-8E23-016AC7DF848E}"/>
                    </a:ext>
                  </a:extLst>
                </p:cNvPr>
                <p:cNvSpPr txBox="1">
                  <a:spLocks/>
                </p:cNvSpPr>
                <p:nvPr/>
              </p:nvSpPr>
              <p:spPr>
                <a:xfrm>
                  <a:off x="4722809" y="4891829"/>
                  <a:ext cx="1075483" cy="422917"/>
                </a:xfrm>
                <a:prstGeom prst="rect">
                  <a:avLst/>
                </a:prstGeom>
              </p:spPr>
              <p:txBody>
                <a:bodyPr vert="horz" lIns="243744" tIns="121869" rIns="243744" bIns="121869" rtlCol="0" anchor="ctr">
                  <a:noAutofit/>
                </a:bodyPr>
                <a:lstStyle>
                  <a:defPPr>
                    <a:defRPr lang="fr-FR"/>
                  </a:defPPr>
                  <a:lvl1pPr indent="0" algn="ctr" defTabSz="457200">
                    <a:spcBef>
                      <a:spcPct val="20000"/>
                    </a:spcBef>
                    <a:buFont typeface="Arial"/>
                    <a:buNone/>
                    <a:defRPr b="1">
                      <a:solidFill>
                        <a:schemeClr val="tx2">
                          <a:lumMod val="75000"/>
                        </a:schemeClr>
                      </a:solidFill>
                      <a:latin typeface="Raleway Medium"/>
                      <a:cs typeface="Lato Regular"/>
                    </a:defRPr>
                  </a:lvl1pPr>
                  <a:lvl2pPr marL="742950" indent="-285750" defTabSz="457200">
                    <a:spcBef>
                      <a:spcPct val="20000"/>
                    </a:spcBef>
                    <a:buFont typeface="Arial"/>
                    <a:buChar char="–"/>
                    <a:defRPr sz="2800"/>
                  </a:lvl2pPr>
                  <a:lvl3pPr marL="1143000" indent="-228600" defTabSz="457200">
                    <a:spcBef>
                      <a:spcPct val="20000"/>
                    </a:spcBef>
                    <a:buFont typeface="Arial"/>
                    <a:buChar char="•"/>
                    <a:defRPr sz="2400"/>
                  </a:lvl3pPr>
                  <a:lvl4pPr marL="1600200" indent="-228600" defTabSz="457200">
                    <a:spcBef>
                      <a:spcPct val="20000"/>
                    </a:spcBef>
                    <a:buFont typeface="Arial"/>
                    <a:buChar char="–"/>
                    <a:defRPr sz="2000"/>
                  </a:lvl4pPr>
                  <a:lvl5pPr marL="2057400" indent="-228600" defTabSz="457200">
                    <a:spcBef>
                      <a:spcPct val="20000"/>
                    </a:spcBef>
                    <a:buFont typeface="Arial"/>
                    <a:buChar char="»"/>
                    <a:defRPr sz="2000"/>
                  </a:lvl5pPr>
                  <a:lvl6pPr marL="25146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6pPr>
                  <a:lvl7pPr marL="29718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7pPr>
                  <a:lvl8pPr marL="34290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8pPr>
                  <a:lvl9pPr marL="3886200" indent="-228600" defTabSz="457200">
                    <a:spcBef>
                      <a:spcPct val="20000"/>
                    </a:spcBef>
                    <a:buFont typeface="Arial"/>
                    <a:buChar char="•"/>
                    <a:defRPr sz="2000"/>
                  </a:lvl9pPr>
                </a:lstStyle>
                <a:p>
                  <a:r>
                    <a:rPr lang="en-US" dirty="0">
                      <a:solidFill>
                        <a:srgbClr val="008000"/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017</a:t>
                  </a:r>
                </a:p>
              </p:txBody>
            </p:sp>
            <p:pic>
              <p:nvPicPr>
                <p:cNvPr id="155" name="Image 182">
                  <a:extLst>
                    <a:ext uri="{FF2B5EF4-FFF2-40B4-BE49-F238E27FC236}">
                      <a16:creationId xmlns:a16="http://schemas.microsoft.com/office/drawing/2014/main" id="{8256E2AA-B7E2-8709-C6C6-4CDDBD3C4DC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851579" y="5248865"/>
                  <a:ext cx="861775" cy="646331"/>
                </a:xfrm>
                <a:prstGeom prst="rect">
                  <a:avLst/>
                </a:prstGeom>
              </p:spPr>
            </p:pic>
          </p:grpSp>
          <p:pic>
            <p:nvPicPr>
              <p:cNvPr id="151" name="Image 189">
                <a:extLst>
                  <a:ext uri="{FF2B5EF4-FFF2-40B4-BE49-F238E27FC236}">
                    <a16:creationId xmlns:a16="http://schemas.microsoft.com/office/drawing/2014/main" id="{6456FFF1-670A-7FED-DD28-6B16DCF7BF9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597812" y="3179677"/>
                <a:ext cx="800564" cy="1067420"/>
              </a:xfrm>
              <a:prstGeom prst="rect">
                <a:avLst/>
              </a:prstGeom>
            </p:spPr>
          </p:pic>
          <p:pic>
            <p:nvPicPr>
              <p:cNvPr id="152" name="Image 193">
                <a:extLst>
                  <a:ext uri="{FF2B5EF4-FFF2-40B4-BE49-F238E27FC236}">
                    <a16:creationId xmlns:a16="http://schemas.microsoft.com/office/drawing/2014/main" id="{7E67D945-5C79-E9F6-2E64-B7DDDC06C1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876997" y="3163944"/>
                <a:ext cx="1548895" cy="363459"/>
              </a:xfrm>
              <a:prstGeom prst="rect">
                <a:avLst/>
              </a:prstGeom>
            </p:spPr>
          </p:pic>
          <p:pic>
            <p:nvPicPr>
              <p:cNvPr id="153" name="Image 194">
                <a:extLst>
                  <a:ext uri="{FF2B5EF4-FFF2-40B4-BE49-F238E27FC236}">
                    <a16:creationId xmlns:a16="http://schemas.microsoft.com/office/drawing/2014/main" id="{4BA68710-00DF-03A1-428B-B9C9D43E977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22733" b="23395"/>
              <a:stretch/>
            </p:blipFill>
            <p:spPr>
              <a:xfrm>
                <a:off x="9809678" y="3648725"/>
                <a:ext cx="1265071" cy="686060"/>
              </a:xfrm>
              <a:prstGeom prst="rect">
                <a:avLst/>
              </a:prstGeom>
            </p:spPr>
          </p:pic>
        </p:grpSp>
        <p:sp>
          <p:nvSpPr>
            <p:cNvPr id="149" name="Parenthèses 209">
              <a:extLst>
                <a:ext uri="{FF2B5EF4-FFF2-40B4-BE49-F238E27FC236}">
                  <a16:creationId xmlns:a16="http://schemas.microsoft.com/office/drawing/2014/main" id="{AE34072A-4387-CE32-6B54-01D2F73BC73A}"/>
                </a:ext>
              </a:extLst>
            </p:cNvPr>
            <p:cNvSpPr/>
            <p:nvPr/>
          </p:nvSpPr>
          <p:spPr>
            <a:xfrm>
              <a:off x="8114369" y="2939096"/>
              <a:ext cx="3290788" cy="1261397"/>
            </a:xfrm>
            <a:prstGeom prst="bracketPair">
              <a:avLst/>
            </a:prstGeom>
            <a:noFill/>
            <a:ln>
              <a:solidFill>
                <a:srgbClr val="06065D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56" name="ZoneTexte 210">
            <a:extLst>
              <a:ext uri="{FF2B5EF4-FFF2-40B4-BE49-F238E27FC236}">
                <a16:creationId xmlns:a16="http://schemas.microsoft.com/office/drawing/2014/main" id="{04999B6F-268E-D819-792B-9EF6FCC1174C}"/>
              </a:ext>
            </a:extLst>
          </p:cNvPr>
          <p:cNvSpPr txBox="1"/>
          <p:nvPr/>
        </p:nvSpPr>
        <p:spPr>
          <a:xfrm>
            <a:off x="4991833" y="5938614"/>
            <a:ext cx="3140456" cy="578882"/>
          </a:xfrm>
          <a:prstGeom prst="round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2800" b="1" dirty="0">
                <a:latin typeface="Arial" panose="020B0604020202020204" pitchFamily="34" charset="0"/>
                <a:cs typeface="Arial" panose="020B0604020202020204" pitchFamily="34" charset="0"/>
              </a:rPr>
              <a:t>DOCTORAT</a:t>
            </a:r>
            <a:endParaRPr lang="fr-FR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4087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" y="0"/>
            <a:ext cx="12191746" cy="6858000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0" y="5172023"/>
            <a:ext cx="5861209" cy="1685977"/>
            <a:chOff x="0" y="4956533"/>
            <a:chExt cx="6610350" cy="1901468"/>
          </a:xfrm>
        </p:grpSpPr>
        <p:sp>
          <p:nvSpPr>
            <p:cNvPr id="17" name="Rectangle 16"/>
            <p:cNvSpPr/>
            <p:nvPr/>
          </p:nvSpPr>
          <p:spPr>
            <a:xfrm>
              <a:off x="0" y="4956533"/>
              <a:ext cx="5611426" cy="19014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8" name="Rounded Rectangle 17"/>
            <p:cNvSpPr/>
            <p:nvPr/>
          </p:nvSpPr>
          <p:spPr>
            <a:xfrm>
              <a:off x="3028950" y="4956533"/>
              <a:ext cx="3581400" cy="19014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0" y="5857874"/>
              <a:ext cx="6610350" cy="100012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</p:grpSp>
      <p:grpSp>
        <p:nvGrpSpPr>
          <p:cNvPr id="32" name="Group 31"/>
          <p:cNvGrpSpPr/>
          <p:nvPr/>
        </p:nvGrpSpPr>
        <p:grpSpPr>
          <a:xfrm>
            <a:off x="704850" y="5521023"/>
            <a:ext cx="4254442" cy="1027954"/>
            <a:chOff x="704850" y="5387673"/>
            <a:chExt cx="4254442" cy="1027954"/>
          </a:xfrm>
        </p:grpSpPr>
        <p:pic>
          <p:nvPicPr>
            <p:cNvPr id="33" name="Image 7">
              <a:extLst>
                <a:ext uri="{FF2B5EF4-FFF2-40B4-BE49-F238E27FC236}">
                  <a16:creationId xmlns:a16="http://schemas.microsoft.com/office/drawing/2014/main" id="{F0D92D51-0A41-7FEC-BBEE-6E7496601C7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/>
          </p:blipFill>
          <p:spPr>
            <a:xfrm>
              <a:off x="704850" y="5444534"/>
              <a:ext cx="3356862" cy="971093"/>
            </a:xfrm>
            <a:prstGeom prst="rect">
              <a:avLst/>
            </a:prstGeom>
          </p:spPr>
        </p:pic>
        <p:pic>
          <p:nvPicPr>
            <p:cNvPr id="34" name="Image 8">
              <a:extLst>
                <a:ext uri="{FF2B5EF4-FFF2-40B4-BE49-F238E27FC236}">
                  <a16:creationId xmlns:a16="http://schemas.microsoft.com/office/drawing/2014/main" id="{C7CB9738-E472-9337-670B-EEDF37BF9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96499" y="5387673"/>
              <a:ext cx="962793" cy="971094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>
          <a:xfrm>
            <a:off x="1655524" y="2286392"/>
            <a:ext cx="888095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fr-FR" sz="4000" b="1" dirty="0">
                <a:solidFill>
                  <a:schemeClr val="bg1"/>
                </a:solidFill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Merci pour votre aimable attention !</a:t>
            </a:r>
            <a:endParaRPr lang="fr-FR" sz="4000" b="1" dirty="0">
              <a:solidFill>
                <a:schemeClr val="bg1"/>
              </a:solidFill>
              <a:latin typeface="Arial" panose="020B0604020202020204" pitchFamily="34" charset="0"/>
              <a:ea typeface="Verdana" panose="020B060403050404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8581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3RhbGgOkyFBUhaXXpEi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cTHhWFzEm3hsbnRqxmu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vdANdd80iUzPsKfMX8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syf1MKb0mIIJ8IpdQ3L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i0f4CkfUSG6UKBqcuQd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I3.ooNx0mUPDGak6ei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x_92pWzUaR8myckgKMp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FtGEBvhUGzCqaumCDz9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Qhq_oEkKXkrywAb0yK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3fW2XsXUmHSC6jf7xoR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P3F20GEOTFRuwH2_T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EcYBy2zEGoQYePFhNse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_OYqrbF0eRjEdiEHzR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DcbVPuKUaXBMIDcQgvO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076xpnPUacvEP9A0W_S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jKwUnBrUWI2.JN5xMuJ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qRq3YUEu2d.BxbXUBJ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2SUPnX_0Gg.X9sw0N.P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QXa3q0EadzI3NZgPy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0mnlIXkyug.6A0RTbh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R0PYCIakuTHJcHATMdu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3nfNy0E0W16lDBB12l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CP2jRoi0CPeiebIo0Cq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EcYBy2zEGoQYePFhNse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CP2jRoi0CPeiebIo0C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w4EZQ8Uu7p4Q9wpiRK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5WpQUxlUavhiS5131Q5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4TZuCYuUSCUZyl1sd4s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GXWgBpk.Byy27QAUuh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9Q2g1C_U2iYis_8SvTz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AzjFAmbUu_LLy6vW44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cTHhWFzEm3hsbnRqxmu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vdANdd80iUzPsKfMX8K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w4EZQ8Uu7p4Q9wpiRK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syf1MKb0mIIJ8IpdQ3L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i0f4CkfUSG6UKBqcuQd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I3.ooNx0mUPDGak6ei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x_92pWzUaR8myckgKMp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FtGEBvhUGzCqaumCDz9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Qhq_oEkKXkrywAb0y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3fW2XsXUmHSC6jf7xoR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P3F20GEOTFRuwH2_Tw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_OYqrbF0eRjEdiEHzRQ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DcbVPuKUaXBMIDcQgvO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5WpQUxlUavhiS5131Q5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076xpnPUacvEP9A0W_S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jKwUnBrUWI2.JN5xMuJ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qRq3YUEu2d.BxbXUBJ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2SUPnX_0Gg.X9sw0N.P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QXa3q0EadzI3NZgPy.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0mnlIXkyug.6A0RTbh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R0PYCIakuTHJcHATMdu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3nfNy0E0W16lDBB12l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EcYBy2zEGoQYePFhNse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1CP2jRoi0CPeiebIo0C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4TZuCYuUSCUZyl1sd4s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zw4EZQ8Uu7p4Q9wpiRK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B5WpQUxlUavhiS5131Q5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4TZuCYuUSCUZyl1sd4s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GXWgBpk.Byy27QAUuh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9Q2g1C_U2iYis_8SvTz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AzjFAmbUu_LLy6vW44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cTHhWFzEm3hsbnRqxmu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vdANdd80iUzPsKfMX8K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syf1MKb0mIIJ8IpdQ3L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i0f4CkfUSG6UKBqcuQ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wGXWgBpk.Byy27QAUuh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I3.ooNx0mUPDGak6eiP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x_92pWzUaR8myckgKMp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.FtGEBvhUGzCqaumCDz9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GQhq_oEkKXkrywAb0yK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3fW2XsXUmHSC6jf7xoR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HP3F20GEOTFRuwH2_T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3_OYqrbF0eRjEdiEHzRQ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DcbVPuKUaXBMIDcQgv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076xpnPUacvEP9A0W_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jKwUnBrUWI2.JN5xMu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9Q2g1C_U2iYis_8SvTz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iqRq3YUEu2d.BxbXUBJ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2SUPnX_0Gg.X9sw0N.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5gQXa3q0EadzI3NZgPy.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n0mnlIXkyug.6A0RTbh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0R0PYCIakuTHJcHATMd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Q3nfNy0E0W16lDBB12lf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VAzjFAmbUu_LLy6vW44W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6</TotalTime>
  <Words>146</Words>
  <Application>Microsoft Office PowerPoint</Application>
  <PresentationFormat>Widescreen</PresentationFormat>
  <Paragraphs>53</Paragraphs>
  <Slides>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4" baseType="lpstr">
      <vt:lpstr>Arial</vt:lpstr>
      <vt:lpstr>Arial Rounded MT Bold</vt:lpstr>
      <vt:lpstr>Calibri</vt:lpstr>
      <vt:lpstr>Calibri Light</vt:lpstr>
      <vt:lpstr>Lato Regular</vt:lpstr>
      <vt:lpstr>Times New Roman</vt:lpstr>
      <vt:lpstr>Verdana</vt:lpstr>
      <vt:lpstr>Office Theme</vt:lpstr>
      <vt:lpstr>Collaboration scientifique – Pyro-gazéification des matières résiduelles</vt:lpstr>
      <vt:lpstr>Profil recherche</vt:lpstr>
      <vt:lpstr>Parcours académiqu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VITRUST</dc:creator>
  <cp:lastModifiedBy>ADVITRUST</cp:lastModifiedBy>
  <cp:revision>26</cp:revision>
  <dcterms:created xsi:type="dcterms:W3CDTF">2025-01-27T12:01:13Z</dcterms:created>
  <dcterms:modified xsi:type="dcterms:W3CDTF">2025-01-27T16:18:59Z</dcterms:modified>
</cp:coreProperties>
</file>